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ink/ink1.xml" ContentType="application/inkml+xml"/>
  <Override PartName="/ppt/ink/ink2.xml" ContentType="application/inkml+xml"/>
  <Override PartName="/ppt/tags/tag33.xml" ContentType="application/vnd.openxmlformats-officedocument.presentationml.tags+xml"/>
  <Override PartName="/ppt/ink/ink3.xml" ContentType="application/inkml+xml"/>
  <Override PartName="/ppt/ink/ink4.xml" ContentType="application/inkml+xml"/>
  <Override PartName="/ppt/ink/ink5.xml" ContentType="application/inkml+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ink/ink6.xml" ContentType="application/inkml+xml"/>
  <Override PartName="/ppt/ink/ink7.xml" ContentType="application/inkml+xml"/>
  <Override PartName="/ppt/ink/ink8.xml" ContentType="application/inkml+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ink/ink9.xml" ContentType="application/inkml+xml"/>
  <Override PartName="/ppt/ink/ink10.xml" ContentType="application/inkml+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notesSlides/notesSlide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notesSlides/notesSlide13.xml" ContentType="application/vnd.openxmlformats-officedocument.presentationml.notesSlide+xml"/>
  <Override PartName="/ppt/tags/tag77.xml" ContentType="application/vnd.openxmlformats-officedocument.presentationml.tags+xml"/>
  <Override PartName="/ppt/notesSlides/notesSlide14.xml" ContentType="application/vnd.openxmlformats-officedocument.presentationml.notesSlide+xml"/>
  <Override PartName="/ppt/tags/tag78.xml" ContentType="application/vnd.openxmlformats-officedocument.presentationml.tags+xml"/>
  <Override PartName="/ppt/notesSlides/notesSlide15.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6.xml" ContentType="application/vnd.openxmlformats-officedocument.presentationml.notesSlide+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notesSlides/notesSlide20.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88.xml" ContentType="application/vnd.openxmlformats-officedocument.presentationml.tags+xml"/>
  <Override PartName="/ppt/tags/tag8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90.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tags/tag91.xml" ContentType="application/vnd.openxmlformats-officedocument.presentationml.tags+xml"/>
  <Override PartName="/ppt/notesSlides/notesSlide22.xml" ContentType="application/vnd.openxmlformats-officedocument.presentationml.notesSlide+xml"/>
  <Override PartName="/ppt/tags/tag92.xml" ContentType="application/vnd.openxmlformats-officedocument.presentationml.tags+xml"/>
  <Override PartName="/ppt/notesSlides/notesSlide23.xml" ContentType="application/vnd.openxmlformats-officedocument.presentationml.notesSlide+xml"/>
  <Override PartName="/ppt/charts/chart2.xml" ContentType="application/vnd.openxmlformats-officedocument.drawingml.chart+xml"/>
  <Override PartName="/ppt/tags/tag93.xml" ContentType="application/vnd.openxmlformats-officedocument.presentationml.tags+xml"/>
  <Override PartName="/ppt/notesSlides/notesSlide24.xml" ContentType="application/vnd.openxmlformats-officedocument.presentationml.notesSlide+xml"/>
  <Override PartName="/ppt/charts/chart3.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6.xml" ContentType="application/vnd.openxmlformats-officedocument.presentationml.notesSlide+xml"/>
  <Override PartName="/ppt/tags/tag106.xml" ContentType="application/vnd.openxmlformats-officedocument.presentationml.tags+xml"/>
  <Override PartName="/ppt/notesSlides/notesSlide27.xml" ContentType="application/vnd.openxmlformats-officedocument.presentationml.notesSlide+xml"/>
  <Override PartName="/ppt/tags/tag107.xml" ContentType="application/vnd.openxmlformats-officedocument.presentationml.tags+xml"/>
  <Override PartName="/ppt/notesSlides/notesSlide2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08.xml" ContentType="application/vnd.openxmlformats-officedocument.presentationml.tags+xml"/>
  <Override PartName="/ppt/notesSlides/notesSlide29.xml" ContentType="application/vnd.openxmlformats-officedocument.presentationml.notesSlide+xml"/>
  <Override PartName="/ppt/tags/tag109.xml" ContentType="application/vnd.openxmlformats-officedocument.presentationml.tags+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7876" r:id="rId2"/>
    <p:sldMasterId id="2147487892" r:id="rId3"/>
  </p:sldMasterIdLst>
  <p:notesMasterIdLst>
    <p:notesMasterId r:id="rId90"/>
  </p:notesMasterIdLst>
  <p:handoutMasterIdLst>
    <p:handoutMasterId r:id="rId91"/>
  </p:handoutMasterIdLst>
  <p:sldIdLst>
    <p:sldId id="1109" r:id="rId4"/>
    <p:sldId id="1095" r:id="rId5"/>
    <p:sldId id="1162" r:id="rId6"/>
    <p:sldId id="1102" r:id="rId7"/>
    <p:sldId id="1085" r:id="rId8"/>
    <p:sldId id="1204" r:id="rId9"/>
    <p:sldId id="1087" r:id="rId10"/>
    <p:sldId id="1088" r:id="rId11"/>
    <p:sldId id="1089" r:id="rId12"/>
    <p:sldId id="1090" r:id="rId13"/>
    <p:sldId id="1202" r:id="rId14"/>
    <p:sldId id="1092" r:id="rId15"/>
    <p:sldId id="1086" r:id="rId16"/>
    <p:sldId id="1142" r:id="rId17"/>
    <p:sldId id="1207" r:id="rId18"/>
    <p:sldId id="1164" r:id="rId19"/>
    <p:sldId id="1165" r:id="rId20"/>
    <p:sldId id="1206" r:id="rId21"/>
    <p:sldId id="1205" r:id="rId22"/>
    <p:sldId id="1137" r:id="rId23"/>
    <p:sldId id="1146" r:id="rId24"/>
    <p:sldId id="1104" r:id="rId25"/>
    <p:sldId id="1144" r:id="rId26"/>
    <p:sldId id="1145" r:id="rId27"/>
    <p:sldId id="1226" r:id="rId28"/>
    <p:sldId id="1190" r:id="rId29"/>
    <p:sldId id="1171" r:id="rId30"/>
    <p:sldId id="1037" r:id="rId31"/>
    <p:sldId id="1064" r:id="rId32"/>
    <p:sldId id="1029" r:id="rId33"/>
    <p:sldId id="673" r:id="rId34"/>
    <p:sldId id="893" r:id="rId35"/>
    <p:sldId id="1110" r:id="rId36"/>
    <p:sldId id="1192" r:id="rId37"/>
    <p:sldId id="1111" r:id="rId38"/>
    <p:sldId id="1184" r:id="rId39"/>
    <p:sldId id="1174" r:id="rId40"/>
    <p:sldId id="1185" r:id="rId41"/>
    <p:sldId id="1176" r:id="rId42"/>
    <p:sldId id="1186" r:id="rId43"/>
    <p:sldId id="1178" r:id="rId44"/>
    <p:sldId id="1187" r:id="rId45"/>
    <p:sldId id="1180" r:id="rId46"/>
    <p:sldId id="1188" r:id="rId47"/>
    <p:sldId id="1182" r:id="rId48"/>
    <p:sldId id="1189" r:id="rId49"/>
    <p:sldId id="1123" r:id="rId50"/>
    <p:sldId id="1124" r:id="rId51"/>
    <p:sldId id="1033" r:id="rId52"/>
    <p:sldId id="709" r:id="rId53"/>
    <p:sldId id="829" r:id="rId54"/>
    <p:sldId id="958" r:id="rId55"/>
    <p:sldId id="1066" r:id="rId56"/>
    <p:sldId id="1141" r:id="rId57"/>
    <p:sldId id="1151" r:id="rId58"/>
    <p:sldId id="1224" r:id="rId59"/>
    <p:sldId id="1056" r:id="rId60"/>
    <p:sldId id="1225" r:id="rId61"/>
    <p:sldId id="1071" r:id="rId62"/>
    <p:sldId id="1058" r:id="rId63"/>
    <p:sldId id="1072" r:id="rId64"/>
    <p:sldId id="1073" r:id="rId65"/>
    <p:sldId id="1156" r:id="rId66"/>
    <p:sldId id="953" r:id="rId67"/>
    <p:sldId id="1157" r:id="rId68"/>
    <p:sldId id="1191" r:id="rId69"/>
    <p:sldId id="1143" r:id="rId70"/>
    <p:sldId id="1220" r:id="rId71"/>
    <p:sldId id="1136" r:id="rId72"/>
    <p:sldId id="1218" r:id="rId73"/>
    <p:sldId id="1221" r:id="rId74"/>
    <p:sldId id="1139" r:id="rId75"/>
    <p:sldId id="1159" r:id="rId76"/>
    <p:sldId id="1160" r:id="rId77"/>
    <p:sldId id="1161" r:id="rId78"/>
    <p:sldId id="1059" r:id="rId79"/>
    <p:sldId id="1223" r:id="rId80"/>
    <p:sldId id="1060" r:id="rId81"/>
    <p:sldId id="851" r:id="rId82"/>
    <p:sldId id="960" r:id="rId83"/>
    <p:sldId id="961" r:id="rId84"/>
    <p:sldId id="962" r:id="rId85"/>
    <p:sldId id="963" r:id="rId86"/>
    <p:sldId id="989" r:id="rId87"/>
    <p:sldId id="1194" r:id="rId88"/>
    <p:sldId id="1195" r:id="rId89"/>
  </p:sldIdLst>
  <p:sldSz cx="13004800" cy="9753600"/>
  <p:notesSz cx="7010400" cy="9296400"/>
  <p:custDataLst>
    <p:tags r:id="rId92"/>
  </p:custDataLst>
  <p:defaultTextStyle>
    <a:defPPr>
      <a:defRPr lang="en-US"/>
    </a:defPPr>
    <a:lvl1pPr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1pPr>
    <a:lvl2pPr marL="455125"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2pPr>
    <a:lvl3pPr marL="910276"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3pPr>
    <a:lvl4pPr marL="1365440"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4pPr>
    <a:lvl5pPr marL="1820568"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5pPr>
    <a:lvl6pPr marL="2275730"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6pPr>
    <a:lvl7pPr marL="2730859"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7pPr>
    <a:lvl8pPr marL="3186012"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8pPr>
    <a:lvl9pPr marL="3641166"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9pPr>
  </p:defaultTextStyle>
  <p:extLst>
    <p:ext uri="{EFAFB233-063F-42B5-8137-9DF3F51BA10A}">
      <p15:sldGuideLst xmlns:p15="http://schemas.microsoft.com/office/powerpoint/2012/main">
        <p15:guide id="1" orient="horz" pos="3072">
          <p15:clr>
            <a:srgbClr val="A4A3A4"/>
          </p15:clr>
        </p15:guide>
        <p15:guide id="2" pos="4096">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80B"/>
    <a:srgbClr val="82C950"/>
    <a:srgbClr val="21C5CF"/>
    <a:srgbClr val="30C5C2"/>
    <a:srgbClr val="33CCCC"/>
    <a:srgbClr val="008080"/>
    <a:srgbClr val="218785"/>
    <a:srgbClr val="339933"/>
    <a:srgbClr val="006699"/>
    <a:srgbClr val="0080C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7" autoAdjust="0"/>
    <p:restoredTop sz="94686" autoAdjust="0"/>
  </p:normalViewPr>
  <p:slideViewPr>
    <p:cSldViewPr>
      <p:cViewPr varScale="1">
        <p:scale>
          <a:sx n="56" d="100"/>
          <a:sy n="56" d="100"/>
        </p:scale>
        <p:origin x="924" y="28"/>
      </p:cViewPr>
      <p:guideLst>
        <p:guide orient="horz" pos="3072"/>
        <p:guide pos="4096"/>
      </p:guideLst>
    </p:cSldViewPr>
  </p:slideViewPr>
  <p:outlineViewPr>
    <p:cViewPr>
      <p:scale>
        <a:sx n="33" d="100"/>
        <a:sy n="33" d="100"/>
      </p:scale>
      <p:origin x="270" y="59604"/>
    </p:cViewPr>
  </p:outlineViewPr>
  <p:notesTextViewPr>
    <p:cViewPr>
      <p:scale>
        <a:sx n="3" d="2"/>
        <a:sy n="3" d="2"/>
      </p:scale>
      <p:origin x="0" y="0"/>
    </p:cViewPr>
  </p:notesTextViewPr>
  <p:sorterViewPr>
    <p:cViewPr>
      <p:scale>
        <a:sx n="50" d="100"/>
        <a:sy n="50" d="100"/>
      </p:scale>
      <p:origin x="0" y="-7112"/>
    </p:cViewPr>
  </p:sorterViewPr>
  <p:notesViewPr>
    <p:cSldViewPr>
      <p:cViewPr>
        <p:scale>
          <a:sx n="93" d="100"/>
          <a:sy n="93" d="100"/>
        </p:scale>
        <p:origin x="1700" y="-254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tags" Target="tags/tag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68115942028986"/>
          <c:y val="0"/>
          <c:w val="0.71980676328502413"/>
          <c:h val="0.9644012944983823"/>
        </c:manualLayout>
      </c:layout>
      <c:pieChart>
        <c:varyColors val="1"/>
        <c:ser>
          <c:idx val="0"/>
          <c:order val="0"/>
          <c:tx>
            <c:strRef>
              <c:f>Sheet1!$B$1</c:f>
              <c:strCache>
                <c:ptCount val="1"/>
                <c:pt idx="0">
                  <c:v>Sales</c:v>
                </c:pt>
              </c:strCache>
            </c:strRef>
          </c:tx>
          <c:spPr>
            <a:solidFill>
              <a:srgbClr val="30C5C2"/>
            </a:solidFill>
            <a:ln w="57150">
              <a:solidFill>
                <a:srgbClr val="30C5C2"/>
              </a:solidFill>
            </a:ln>
          </c:spPr>
          <c:dPt>
            <c:idx val="0"/>
            <c:bubble3D val="0"/>
            <c:spPr>
              <a:solidFill>
                <a:srgbClr val="92D050"/>
              </a:solidFill>
              <a:ln w="57150">
                <a:solidFill>
                  <a:srgbClr val="30C5C2"/>
                </a:solidFill>
              </a:ln>
            </c:spPr>
            <c:extLst>
              <c:ext xmlns:c16="http://schemas.microsoft.com/office/drawing/2014/chart" uri="{C3380CC4-5D6E-409C-BE32-E72D297353CC}">
                <c16:uniqueId val="{00000000-4D59-44E4-B109-7B5EEC838870}"/>
              </c:ext>
            </c:extLst>
          </c:dPt>
          <c:dPt>
            <c:idx val="1"/>
            <c:bubble3D val="0"/>
            <c:spPr>
              <a:solidFill>
                <a:schemeClr val="bg1"/>
              </a:solidFill>
              <a:ln w="57150">
                <a:solidFill>
                  <a:srgbClr val="30C5C2"/>
                </a:solidFill>
              </a:ln>
            </c:spPr>
            <c:extLst>
              <c:ext xmlns:c16="http://schemas.microsoft.com/office/drawing/2014/chart" uri="{C3380CC4-5D6E-409C-BE32-E72D297353CC}">
                <c16:uniqueId val="{00000001-4D59-44E4-B109-7B5EEC838870}"/>
              </c:ext>
            </c:extLst>
          </c:dPt>
          <c:cat>
            <c:strRef>
              <c:f>Sheet1!$A$2:$A$5</c:f>
              <c:strCache>
                <c:ptCount val="2"/>
                <c:pt idx="0">
                  <c:v>Forms and Paperwork</c:v>
                </c:pt>
                <c:pt idx="1">
                  <c:v>Conversation</c:v>
                </c:pt>
              </c:strCache>
            </c:strRef>
          </c:cat>
          <c:val>
            <c:numRef>
              <c:f>Sheet1!$B$2:$B$5</c:f>
              <c:numCache>
                <c:formatCode>General</c:formatCode>
                <c:ptCount val="4"/>
                <c:pt idx="0">
                  <c:v>85</c:v>
                </c:pt>
                <c:pt idx="1">
                  <c:v>15</c:v>
                </c:pt>
              </c:numCache>
            </c:numRef>
          </c:val>
          <c:extLst>
            <c:ext xmlns:c16="http://schemas.microsoft.com/office/drawing/2014/chart" uri="{C3380CC4-5D6E-409C-BE32-E72D297353CC}">
              <c16:uniqueId val="{00000002-4D59-44E4-B109-7B5EEC838870}"/>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68115942028986"/>
          <c:y val="0"/>
          <c:w val="0.71980676328502413"/>
          <c:h val="0.96440129449838274"/>
        </c:manualLayout>
      </c:layout>
      <c:pieChart>
        <c:varyColors val="1"/>
        <c:ser>
          <c:idx val="0"/>
          <c:order val="0"/>
          <c:tx>
            <c:strRef>
              <c:f>Sheet1!$B$1</c:f>
              <c:strCache>
                <c:ptCount val="1"/>
                <c:pt idx="0">
                  <c:v>Sales</c:v>
                </c:pt>
              </c:strCache>
            </c:strRef>
          </c:tx>
          <c:spPr>
            <a:solidFill>
              <a:srgbClr val="30C5C2"/>
            </a:solidFill>
            <a:ln w="57150">
              <a:solidFill>
                <a:srgbClr val="30C5C2"/>
              </a:solidFill>
            </a:ln>
          </c:spPr>
          <c:dPt>
            <c:idx val="0"/>
            <c:bubble3D val="0"/>
            <c:spPr>
              <a:solidFill>
                <a:srgbClr val="92D050"/>
              </a:solidFill>
              <a:ln w="57150">
                <a:solidFill>
                  <a:srgbClr val="30C5C2"/>
                </a:solidFill>
              </a:ln>
            </c:spPr>
            <c:extLst>
              <c:ext xmlns:c16="http://schemas.microsoft.com/office/drawing/2014/chart" uri="{C3380CC4-5D6E-409C-BE32-E72D297353CC}">
                <c16:uniqueId val="{00000000-6F02-4153-8D93-4EF80FDAA724}"/>
              </c:ext>
            </c:extLst>
          </c:dPt>
          <c:dPt>
            <c:idx val="1"/>
            <c:bubble3D val="0"/>
            <c:spPr>
              <a:solidFill>
                <a:schemeClr val="bg1"/>
              </a:solidFill>
              <a:ln w="57150">
                <a:solidFill>
                  <a:srgbClr val="30C5C2"/>
                </a:solidFill>
              </a:ln>
            </c:spPr>
            <c:extLst>
              <c:ext xmlns:c16="http://schemas.microsoft.com/office/drawing/2014/chart" uri="{C3380CC4-5D6E-409C-BE32-E72D297353CC}">
                <c16:uniqueId val="{00000001-6F02-4153-8D93-4EF80FDAA724}"/>
              </c:ext>
            </c:extLst>
          </c:dPt>
          <c:cat>
            <c:strRef>
              <c:f>Sheet1!$A$2:$A$5</c:f>
              <c:strCache>
                <c:ptCount val="2"/>
                <c:pt idx="0">
                  <c:v>Forms and Paperwork</c:v>
                </c:pt>
                <c:pt idx="1">
                  <c:v>Conversation</c:v>
                </c:pt>
              </c:strCache>
            </c:strRef>
          </c:cat>
          <c:val>
            <c:numRef>
              <c:f>Sheet1!$B$2:$B$5</c:f>
              <c:numCache>
                <c:formatCode>General</c:formatCode>
                <c:ptCount val="4"/>
                <c:pt idx="0">
                  <c:v>15</c:v>
                </c:pt>
                <c:pt idx="1">
                  <c:v>85</c:v>
                </c:pt>
              </c:numCache>
            </c:numRef>
          </c:val>
          <c:extLst>
            <c:ext xmlns:c16="http://schemas.microsoft.com/office/drawing/2014/chart" uri="{C3380CC4-5D6E-409C-BE32-E72D297353CC}">
              <c16:uniqueId val="{00000002-6F02-4153-8D93-4EF80FDAA724}"/>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68115942028986"/>
          <c:y val="0"/>
          <c:w val="0.71980676328502413"/>
          <c:h val="0.96440129449838352"/>
        </c:manualLayout>
      </c:layout>
      <c:pieChart>
        <c:varyColors val="1"/>
        <c:ser>
          <c:idx val="0"/>
          <c:order val="0"/>
          <c:tx>
            <c:strRef>
              <c:f>Sheet1!$B$1</c:f>
              <c:strCache>
                <c:ptCount val="1"/>
                <c:pt idx="0">
                  <c:v>Sales</c:v>
                </c:pt>
              </c:strCache>
            </c:strRef>
          </c:tx>
          <c:spPr>
            <a:solidFill>
              <a:srgbClr val="30C5C2"/>
            </a:solidFill>
            <a:ln w="57150">
              <a:solidFill>
                <a:srgbClr val="30C5C2"/>
              </a:solidFill>
            </a:ln>
          </c:spPr>
          <c:explosion val="8"/>
          <c:dPt>
            <c:idx val="0"/>
            <c:bubble3D val="0"/>
            <c:spPr>
              <a:solidFill>
                <a:srgbClr val="92D050"/>
              </a:solidFill>
              <a:ln w="57150">
                <a:solidFill>
                  <a:srgbClr val="30C5C2"/>
                </a:solidFill>
              </a:ln>
            </c:spPr>
            <c:extLst>
              <c:ext xmlns:c16="http://schemas.microsoft.com/office/drawing/2014/chart" uri="{C3380CC4-5D6E-409C-BE32-E72D297353CC}">
                <c16:uniqueId val="{00000000-1ECB-4489-8343-0B13F35E1CAB}"/>
              </c:ext>
            </c:extLst>
          </c:dPt>
          <c:dPt>
            <c:idx val="1"/>
            <c:bubble3D val="0"/>
            <c:spPr>
              <a:solidFill>
                <a:schemeClr val="bg1"/>
              </a:solidFill>
              <a:ln w="57150">
                <a:solidFill>
                  <a:srgbClr val="30C5C2"/>
                </a:solidFill>
              </a:ln>
            </c:spPr>
            <c:extLst>
              <c:ext xmlns:c16="http://schemas.microsoft.com/office/drawing/2014/chart" uri="{C3380CC4-5D6E-409C-BE32-E72D297353CC}">
                <c16:uniqueId val="{00000001-1ECB-4489-8343-0B13F35E1CAB}"/>
              </c:ext>
            </c:extLst>
          </c:dPt>
          <c:cat>
            <c:strRef>
              <c:f>Sheet1!$A$2:$A$5</c:f>
              <c:strCache>
                <c:ptCount val="2"/>
                <c:pt idx="0">
                  <c:v>Forms and Paperwork</c:v>
                </c:pt>
                <c:pt idx="1">
                  <c:v>Conversation</c:v>
                </c:pt>
              </c:strCache>
            </c:strRef>
          </c:cat>
          <c:val>
            <c:numRef>
              <c:f>Sheet1!$B$2:$B$5</c:f>
              <c:numCache>
                <c:formatCode>General</c:formatCode>
                <c:ptCount val="4"/>
                <c:pt idx="0">
                  <c:v>15</c:v>
                </c:pt>
                <c:pt idx="1">
                  <c:v>85</c:v>
                </c:pt>
              </c:numCache>
            </c:numRef>
          </c:val>
          <c:extLst>
            <c:ext xmlns:c16="http://schemas.microsoft.com/office/drawing/2014/chart" uri="{C3380CC4-5D6E-409C-BE32-E72D297353CC}">
              <c16:uniqueId val="{00000002-1ECB-4489-8343-0B13F35E1CAB}"/>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diagrams/_rels/data2.xml.rels><?xml version="1.0" encoding="UTF-8" standalone="yes"?>
<Relationships xmlns="http://schemas.openxmlformats.org/package/2006/relationships"><Relationship Id="rId1" Type="http://schemas.openxmlformats.org/officeDocument/2006/relationships/image" Target="../media/image11.png"/></Relationships>
</file>

<file path=ppt/diagrams/_rels/data7.xml.rels><?xml version="1.0" encoding="UTF-8" standalone="yes"?>
<Relationships xmlns="http://schemas.openxmlformats.org/package/2006/relationships"><Relationship Id="rId1" Type="http://schemas.openxmlformats.org/officeDocument/2006/relationships/image" Target="../media/image11.png"/></Relationships>
</file>

<file path=ppt/diagrams/_rels/data8.xml.rels><?xml version="1.0" encoding="UTF-8" standalone="yes"?>
<Relationships xmlns="http://schemas.openxmlformats.org/package/2006/relationships"><Relationship Id="rId1" Type="http://schemas.openxmlformats.org/officeDocument/2006/relationships/image" Target="../media/image11.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1.png"/></Relationships>
</file>

<file path=ppt/diagrams/_rels/drawing7.xml.rels><?xml version="1.0" encoding="UTF-8" standalone="yes"?>
<Relationships xmlns="http://schemas.openxmlformats.org/package/2006/relationships"><Relationship Id="rId1" Type="http://schemas.openxmlformats.org/officeDocument/2006/relationships/image" Target="../media/image11.png"/></Relationships>
</file>

<file path=ppt/diagrams/_rels/drawing8.xml.rels><?xml version="1.0" encoding="UTF-8" standalone="yes"?>
<Relationships xmlns="http://schemas.openxmlformats.org/package/2006/relationships"><Relationship Id="rId1"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9F1C62-AFCD-40EE-A07D-0BA84F98963A}"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C46028A9-F594-4EB2-8402-58E8882E5F10}">
      <dgm:prSet phldrT="[Text]" custT="1"/>
      <dgm:spPr>
        <a:solidFill>
          <a:srgbClr val="0070C0"/>
        </a:solidFill>
        <a:effectLst>
          <a:glow rad="63500">
            <a:srgbClr val="0066CC">
              <a:alpha val="40000"/>
            </a:srgbClr>
          </a:glow>
        </a:effectLst>
      </dgm:spPr>
      <dgm:t>
        <a:bodyPr/>
        <a:lstStyle/>
        <a:p>
          <a:pPr lvl="0" algn="ctr" defTabSz="914400" rtl="0" fontAlgn="base">
            <a:spcBef>
              <a:spcPct val="0"/>
            </a:spcBef>
            <a:spcAft>
              <a:spcPct val="0"/>
            </a:spcAft>
          </a:pPr>
          <a:r>
            <a:rPr lang="en-US" sz="2800" b="0" kern="1200" dirty="0">
              <a:solidFill>
                <a:schemeClr val="bg1"/>
              </a:solidFill>
              <a:latin typeface="+mn-lt"/>
              <a:ea typeface="ヒラギノ角ゴ ProN W3" charset="0"/>
              <a:cs typeface="ヒラギノ角ゴ ProN W3" charset="0"/>
              <a:sym typeface="Gill Sans" charset="0"/>
            </a:rPr>
            <a:t>Part 1</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Map Your Career Pattern</a:t>
          </a:r>
        </a:p>
      </dgm:t>
    </dgm:pt>
    <dgm:pt modelId="{C36A7577-43CD-4538-BA7E-7A916E8EF83C}" type="parTrans" cxnId="{0A2D8AC0-5738-406E-BEFC-F8D58D7DB0D4}">
      <dgm:prSet/>
      <dgm:spPr/>
      <dgm:t>
        <a:bodyPr/>
        <a:lstStyle/>
        <a:p>
          <a:endParaRPr lang="en-US"/>
        </a:p>
      </dgm:t>
    </dgm:pt>
    <dgm:pt modelId="{A3955D0E-B095-49DB-ACB7-155E8C752EE1}" type="sibTrans" cxnId="{0A2D8AC0-5738-406E-BEFC-F8D58D7DB0D4}">
      <dgm:prSet/>
      <dgm:spPr>
        <a:ln>
          <a:tailEnd type="none"/>
        </a:ln>
      </dgm:spPr>
      <dgm:t>
        <a:bodyPr/>
        <a:lstStyle/>
        <a:p>
          <a:endParaRPr lang="en-US"/>
        </a:p>
      </dgm:t>
    </dgm:pt>
    <dgm:pt modelId="{F7317E0F-5770-4BA5-A854-3FB3F05A1DF9}">
      <dgm:prSet phldrT="[Text]" custT="1"/>
      <dgm:spPr>
        <a:solidFill>
          <a:srgbClr val="92D050"/>
        </a:solidFill>
        <a:effectLst>
          <a:glow rad="63500">
            <a:srgbClr val="92D050">
              <a:alpha val="40000"/>
            </a:srgbClr>
          </a:glow>
        </a:effectLst>
      </dgm:spPr>
      <dgm:t>
        <a:bodyPr/>
        <a:lstStyle/>
        <a:p>
          <a:pPr lvl="0" algn="ctr" defTabSz="914400" rtl="0" fontAlgn="base">
            <a:spcBef>
              <a:spcPct val="0"/>
            </a:spcBef>
            <a:spcAft>
              <a:spcPct val="0"/>
            </a:spcAft>
          </a:pPr>
          <a:r>
            <a:rPr lang="en-US" sz="2800" b="0" kern="1200" dirty="0">
              <a:solidFill>
                <a:schemeClr val="bg1"/>
              </a:solidFill>
              <a:latin typeface="+mn-lt"/>
              <a:ea typeface="ヒラギノ角ゴ ProN W3" charset="0"/>
              <a:cs typeface="ヒラギノ角ゴ ProN W3" charset="0"/>
              <a:sym typeface="Gill Sans" charset="0"/>
            </a:rPr>
            <a:t>Part 3 </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Self-Driven Insight</a:t>
          </a:r>
        </a:p>
      </dgm:t>
    </dgm:pt>
    <dgm:pt modelId="{296E2EDA-0954-496A-BF11-9608B576FE21}" type="parTrans" cxnId="{55410BDB-C844-470F-964B-F40B2FCCAE57}">
      <dgm:prSet/>
      <dgm:spPr/>
      <dgm:t>
        <a:bodyPr/>
        <a:lstStyle/>
        <a:p>
          <a:endParaRPr lang="en-US"/>
        </a:p>
      </dgm:t>
    </dgm:pt>
    <dgm:pt modelId="{ED86CF05-D1B5-42C7-A103-0D05F2E07E2D}" type="sibTrans" cxnId="{55410BDB-C844-470F-964B-F40B2FCCAE57}">
      <dgm:prSet/>
      <dgm:spPr>
        <a:ln>
          <a:tailEnd type="none"/>
        </a:ln>
      </dgm:spPr>
      <dgm:t>
        <a:bodyPr/>
        <a:lstStyle/>
        <a:p>
          <a:endParaRPr lang="en-US"/>
        </a:p>
      </dgm:t>
    </dgm:pt>
    <dgm:pt modelId="{EF59AB04-0153-4B99-BE52-096ACB86372D}">
      <dgm:prSet phldrT="[Text]" custT="1"/>
      <dgm:spPr>
        <a:solidFill>
          <a:srgbClr val="30C5C2"/>
        </a:solidFill>
        <a:effectLst>
          <a:glow rad="63500">
            <a:srgbClr val="30C5C2">
              <a:alpha val="40000"/>
            </a:srgbClr>
          </a:glow>
        </a:effectLst>
      </dgm:spPr>
      <dgm:t>
        <a:bodyPr/>
        <a:lstStyle/>
        <a:p>
          <a:pPr lvl="0" algn="ctr" defTabSz="914400" rtl="0" fontAlgn="base">
            <a:spcBef>
              <a:spcPct val="0"/>
            </a:spcBef>
            <a:spcAft>
              <a:spcPct val="0"/>
            </a:spcAft>
          </a:pPr>
          <a:r>
            <a:rPr lang="en-US" sz="2800" b="0" kern="1200" dirty="0">
              <a:solidFill>
                <a:schemeClr val="bg1"/>
              </a:solidFill>
              <a:latin typeface="+mn-lt"/>
              <a:ea typeface="ヒラギノ角ゴ ProN W3" charset="0"/>
              <a:cs typeface="ヒラギノ角ゴ ProN W3" charset="0"/>
              <a:sym typeface="Gill Sans" charset="0"/>
            </a:rPr>
            <a:t>Part 4</a:t>
          </a:r>
        </a:p>
        <a:p>
          <a:pPr lvl="0" algn="ctr" defTabSz="914400" rtl="0" fontAlgn="base">
            <a:spcBef>
              <a:spcPct val="0"/>
            </a:spcBef>
            <a:spcAft>
              <a:spcPct val="0"/>
            </a:spcAft>
          </a:pPr>
          <a:r>
            <a:rPr lang="en-US" sz="2800" b="1" kern="1200" dirty="0">
              <a:solidFill>
                <a:schemeClr val="bg1"/>
              </a:solidFill>
              <a:latin typeface="+mn-lt"/>
              <a:ea typeface="ヒラギノ角ゴ ProN W3" charset="0"/>
              <a:cs typeface="ヒラギノ角ゴ ProN W3" charset="0"/>
              <a:sym typeface="Gill Sans" charset="0"/>
            </a:rPr>
            <a:t>Giving Positive Feedback</a:t>
          </a:r>
        </a:p>
      </dgm:t>
    </dgm:pt>
    <dgm:pt modelId="{0AC54467-88C2-4C14-9A9C-2B0714FD491F}" type="parTrans" cxnId="{10EEB5E7-B840-437C-BA73-C5CF71D92EC4}">
      <dgm:prSet/>
      <dgm:spPr/>
      <dgm:t>
        <a:bodyPr/>
        <a:lstStyle/>
        <a:p>
          <a:endParaRPr lang="en-US"/>
        </a:p>
      </dgm:t>
    </dgm:pt>
    <dgm:pt modelId="{89D64343-9287-4F1A-9BFC-0F8149B85FCE}" type="sibTrans" cxnId="{10EEB5E7-B840-437C-BA73-C5CF71D92EC4}">
      <dgm:prSet/>
      <dgm:spPr>
        <a:ln>
          <a:tailEnd type="none"/>
        </a:ln>
      </dgm:spPr>
      <dgm:t>
        <a:bodyPr/>
        <a:lstStyle/>
        <a:p>
          <a:endParaRPr lang="en-US"/>
        </a:p>
      </dgm:t>
    </dgm:pt>
    <dgm:pt modelId="{0648333C-F280-45E2-8E51-68985C181802}">
      <dgm:prSet phldrT="[Text]" custT="1"/>
      <dgm:spPr>
        <a:solidFill>
          <a:schemeClr val="accent2"/>
        </a:solidFill>
        <a:effectLst>
          <a:glow rad="63500">
            <a:srgbClr val="FFC000">
              <a:alpha val="40000"/>
            </a:srgbClr>
          </a:glow>
        </a:effectLst>
      </dgm:spPr>
      <dgm:t>
        <a:bodyPr/>
        <a:lstStyle/>
        <a:p>
          <a:pPr lvl="0" algn="ctr" defTabSz="914400" rtl="0" fontAlgn="base">
            <a:spcBef>
              <a:spcPct val="0"/>
            </a:spcBef>
            <a:spcAft>
              <a:spcPct val="0"/>
            </a:spcAft>
          </a:pPr>
          <a:r>
            <a:rPr lang="en-US" sz="2800" b="0" kern="1200" dirty="0">
              <a:solidFill>
                <a:schemeClr val="bg1"/>
              </a:solidFill>
              <a:latin typeface="+mn-lt"/>
              <a:ea typeface="ヒラギノ角ゴ ProN W3" charset="0"/>
              <a:cs typeface="ヒラギノ角ゴ ProN W3" charset="0"/>
              <a:sym typeface="Gill Sans" charset="0"/>
            </a:rPr>
            <a:t>Part 5</a:t>
          </a:r>
        </a:p>
        <a:p>
          <a:pPr lvl="0" algn="ctr" defTabSz="914400" rtl="0" fontAlgn="base">
            <a:spcBef>
              <a:spcPct val="0"/>
            </a:spcBef>
            <a:spcAft>
              <a:spcPct val="0"/>
            </a:spcAft>
          </a:pPr>
          <a:r>
            <a:rPr lang="en-US" sz="2800" b="1" kern="1200" dirty="0">
              <a:solidFill>
                <a:schemeClr val="bg1"/>
              </a:solidFill>
              <a:latin typeface="+mn-lt"/>
              <a:ea typeface="ヒラギノ角ゴ ProN W3" charset="0"/>
              <a:cs typeface="ヒラギノ角ゴ ProN W3" charset="0"/>
              <a:sym typeface="Gill Sans" charset="0"/>
            </a:rPr>
            <a:t>5 and 10-Minute Question Conversations</a:t>
          </a:r>
        </a:p>
      </dgm:t>
    </dgm:pt>
    <dgm:pt modelId="{F7E9115B-F360-48C4-9F75-FD21CE8727F1}" type="parTrans" cxnId="{91359718-D664-4B8B-9245-F2A598C05746}">
      <dgm:prSet/>
      <dgm:spPr/>
      <dgm:t>
        <a:bodyPr/>
        <a:lstStyle/>
        <a:p>
          <a:endParaRPr lang="en-US"/>
        </a:p>
      </dgm:t>
    </dgm:pt>
    <dgm:pt modelId="{5F2318AB-5319-4768-9021-27CB24E0102D}" type="sibTrans" cxnId="{91359718-D664-4B8B-9245-F2A598C05746}">
      <dgm:prSet/>
      <dgm:spPr>
        <a:ln>
          <a:tailEnd type="none"/>
        </a:ln>
      </dgm:spPr>
      <dgm:t>
        <a:bodyPr/>
        <a:lstStyle/>
        <a:p>
          <a:endParaRPr lang="en-US"/>
        </a:p>
      </dgm:t>
    </dgm:pt>
    <dgm:pt modelId="{7E4C63ED-164F-46DC-A300-3740AB017AE3}">
      <dgm:prSet phldrT="[Text]" custT="1"/>
      <dgm:spPr>
        <a:solidFill>
          <a:srgbClr val="008080"/>
        </a:solidFill>
        <a:effectLst>
          <a:glow rad="63500">
            <a:srgbClr val="008080">
              <a:alpha val="40000"/>
            </a:srgbClr>
          </a:glow>
        </a:effectLst>
      </dgm:spPr>
      <dgm:t>
        <a:bodyPr/>
        <a:lstStyle/>
        <a:p>
          <a:pPr lvl="0" algn="ctr" defTabSz="914400" rtl="0" fontAlgn="base">
            <a:spcBef>
              <a:spcPct val="0"/>
            </a:spcBef>
            <a:spcAft>
              <a:spcPct val="0"/>
            </a:spcAft>
          </a:pPr>
          <a:r>
            <a:rPr lang="en-US" sz="2800" b="0" kern="1200" dirty="0">
              <a:solidFill>
                <a:schemeClr val="bg1"/>
              </a:solidFill>
              <a:latin typeface="+mn-lt"/>
              <a:ea typeface="ヒラギノ角ゴ ProN W3" charset="0"/>
              <a:cs typeface="ヒラギノ角ゴ ProN W3" charset="0"/>
              <a:sym typeface="Gill Sans" charset="0"/>
            </a:rPr>
            <a:t>Part 2 </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Employee Performance Continuum</a:t>
          </a:r>
        </a:p>
      </dgm:t>
    </dgm:pt>
    <dgm:pt modelId="{6213ECA3-C9D0-427D-90BB-416C2734F050}" type="parTrans" cxnId="{E3884D8E-4893-4C53-BA4F-11337683E97D}">
      <dgm:prSet/>
      <dgm:spPr/>
      <dgm:t>
        <a:bodyPr/>
        <a:lstStyle/>
        <a:p>
          <a:endParaRPr lang="en-US"/>
        </a:p>
      </dgm:t>
    </dgm:pt>
    <dgm:pt modelId="{9D4BEA15-E6C3-49F8-91FE-A62AFCF5F220}" type="sibTrans" cxnId="{E3884D8E-4893-4C53-BA4F-11337683E97D}">
      <dgm:prSet/>
      <dgm:spPr>
        <a:ln>
          <a:tailEnd type="none"/>
        </a:ln>
      </dgm:spPr>
      <dgm:t>
        <a:bodyPr/>
        <a:lstStyle/>
        <a:p>
          <a:endParaRPr lang="en-US"/>
        </a:p>
      </dgm:t>
    </dgm:pt>
    <dgm:pt modelId="{794DC965-3FBD-4045-8605-2A4E5DA6D230}" type="pres">
      <dgm:prSet presAssocID="{139F1C62-AFCD-40EE-A07D-0BA84F98963A}" presName="cycle" presStyleCnt="0">
        <dgm:presLayoutVars>
          <dgm:dir/>
          <dgm:resizeHandles val="exact"/>
        </dgm:presLayoutVars>
      </dgm:prSet>
      <dgm:spPr/>
    </dgm:pt>
    <dgm:pt modelId="{AA5D99E9-2FD3-49E7-B459-849BC8F0825D}" type="pres">
      <dgm:prSet presAssocID="{C46028A9-F594-4EB2-8402-58E8882E5F10}" presName="node" presStyleLbl="node1" presStyleIdx="0" presStyleCnt="5">
        <dgm:presLayoutVars>
          <dgm:bulletEnabled val="1"/>
        </dgm:presLayoutVars>
      </dgm:prSet>
      <dgm:spPr/>
    </dgm:pt>
    <dgm:pt modelId="{4ECAA49C-6BCD-48AD-98B6-348AD1CFD052}" type="pres">
      <dgm:prSet presAssocID="{C46028A9-F594-4EB2-8402-58E8882E5F10}" presName="spNode" presStyleCnt="0"/>
      <dgm:spPr/>
    </dgm:pt>
    <dgm:pt modelId="{657AE05B-1220-494B-8CB3-D26EC8BC182D}" type="pres">
      <dgm:prSet presAssocID="{A3955D0E-B095-49DB-ACB7-155E8C752EE1}" presName="sibTrans" presStyleLbl="sibTrans1D1" presStyleIdx="0" presStyleCnt="5"/>
      <dgm:spPr/>
    </dgm:pt>
    <dgm:pt modelId="{340B9E1A-4233-4FA1-A264-269CEAC68E27}" type="pres">
      <dgm:prSet presAssocID="{7E4C63ED-164F-46DC-A300-3740AB017AE3}" presName="node" presStyleLbl="node1" presStyleIdx="1" presStyleCnt="5">
        <dgm:presLayoutVars>
          <dgm:bulletEnabled val="1"/>
        </dgm:presLayoutVars>
      </dgm:prSet>
      <dgm:spPr/>
    </dgm:pt>
    <dgm:pt modelId="{1279E4F6-4011-4324-BAC5-589D17BA826D}" type="pres">
      <dgm:prSet presAssocID="{7E4C63ED-164F-46DC-A300-3740AB017AE3}" presName="spNode" presStyleCnt="0"/>
      <dgm:spPr/>
    </dgm:pt>
    <dgm:pt modelId="{5AB0F003-93FC-48F3-BE51-158512A6FF86}" type="pres">
      <dgm:prSet presAssocID="{9D4BEA15-E6C3-49F8-91FE-A62AFCF5F220}" presName="sibTrans" presStyleLbl="sibTrans1D1" presStyleIdx="1" presStyleCnt="5"/>
      <dgm:spPr/>
    </dgm:pt>
    <dgm:pt modelId="{C8412CBC-782D-47FD-AE74-864DB0D0E976}" type="pres">
      <dgm:prSet presAssocID="{F7317E0F-5770-4BA5-A854-3FB3F05A1DF9}" presName="node" presStyleLbl="node1" presStyleIdx="2" presStyleCnt="5" custRadScaleRad="100305" custRadScaleInc="-15091">
        <dgm:presLayoutVars>
          <dgm:bulletEnabled val="1"/>
        </dgm:presLayoutVars>
      </dgm:prSet>
      <dgm:spPr/>
    </dgm:pt>
    <dgm:pt modelId="{A698FEA4-C015-411A-9B00-4D6FA9338D19}" type="pres">
      <dgm:prSet presAssocID="{F7317E0F-5770-4BA5-A854-3FB3F05A1DF9}" presName="spNode" presStyleCnt="0"/>
      <dgm:spPr/>
    </dgm:pt>
    <dgm:pt modelId="{4C676D33-2BDF-4179-B13C-AD425BF38774}" type="pres">
      <dgm:prSet presAssocID="{ED86CF05-D1B5-42C7-A103-0D05F2E07E2D}" presName="sibTrans" presStyleLbl="sibTrans1D1" presStyleIdx="2" presStyleCnt="5"/>
      <dgm:spPr/>
    </dgm:pt>
    <dgm:pt modelId="{6675A97E-367F-471C-AEC3-2990BBF7C1C9}" type="pres">
      <dgm:prSet presAssocID="{EF59AB04-0153-4B99-BE52-096ACB86372D}" presName="node" presStyleLbl="node1" presStyleIdx="3" presStyleCnt="5">
        <dgm:presLayoutVars>
          <dgm:bulletEnabled val="1"/>
        </dgm:presLayoutVars>
      </dgm:prSet>
      <dgm:spPr/>
    </dgm:pt>
    <dgm:pt modelId="{103BBD62-757E-4E3C-9994-10D9EF86AF14}" type="pres">
      <dgm:prSet presAssocID="{EF59AB04-0153-4B99-BE52-096ACB86372D}" presName="spNode" presStyleCnt="0"/>
      <dgm:spPr/>
    </dgm:pt>
    <dgm:pt modelId="{C3D54DDE-BD39-41E5-8621-5938448140C6}" type="pres">
      <dgm:prSet presAssocID="{89D64343-9287-4F1A-9BFC-0F8149B85FCE}" presName="sibTrans" presStyleLbl="sibTrans1D1" presStyleIdx="3" presStyleCnt="5"/>
      <dgm:spPr/>
    </dgm:pt>
    <dgm:pt modelId="{95B45E8F-FAA7-49C2-BB6A-760149C665D6}" type="pres">
      <dgm:prSet presAssocID="{0648333C-F280-45E2-8E51-68985C181802}" presName="node" presStyleLbl="node1" presStyleIdx="4" presStyleCnt="5" custScaleX="105195" custRadScaleRad="99686" custRadScaleInc="-11270">
        <dgm:presLayoutVars>
          <dgm:bulletEnabled val="1"/>
        </dgm:presLayoutVars>
      </dgm:prSet>
      <dgm:spPr/>
    </dgm:pt>
    <dgm:pt modelId="{7E6A3494-DAF1-49CF-A37F-A10FCA80C697}" type="pres">
      <dgm:prSet presAssocID="{0648333C-F280-45E2-8E51-68985C181802}" presName="spNode" presStyleCnt="0"/>
      <dgm:spPr/>
    </dgm:pt>
    <dgm:pt modelId="{BB0029C9-102A-45A9-B99C-750CA8ED6E59}" type="pres">
      <dgm:prSet presAssocID="{5F2318AB-5319-4768-9021-27CB24E0102D}" presName="sibTrans" presStyleLbl="sibTrans1D1" presStyleIdx="4" presStyleCnt="5"/>
      <dgm:spPr/>
    </dgm:pt>
  </dgm:ptLst>
  <dgm:cxnLst>
    <dgm:cxn modelId="{706F1B04-C97C-4863-A8F6-C82D66442FB2}" type="presOf" srcId="{C46028A9-F594-4EB2-8402-58E8882E5F10}" destId="{AA5D99E9-2FD3-49E7-B459-849BC8F0825D}" srcOrd="0" destOrd="0" presId="urn:microsoft.com/office/officeart/2005/8/layout/cycle5"/>
    <dgm:cxn modelId="{A7FBE006-FFE7-4A1A-9963-26E6E969A0DB}" type="presOf" srcId="{F7317E0F-5770-4BA5-A854-3FB3F05A1DF9}" destId="{C8412CBC-782D-47FD-AE74-864DB0D0E976}" srcOrd="0" destOrd="0" presId="urn:microsoft.com/office/officeart/2005/8/layout/cycle5"/>
    <dgm:cxn modelId="{6F53FB06-BB79-45E5-994D-372C975A9CE2}" type="presOf" srcId="{0648333C-F280-45E2-8E51-68985C181802}" destId="{95B45E8F-FAA7-49C2-BB6A-760149C665D6}" srcOrd="0" destOrd="0" presId="urn:microsoft.com/office/officeart/2005/8/layout/cycle5"/>
    <dgm:cxn modelId="{91359718-D664-4B8B-9245-F2A598C05746}" srcId="{139F1C62-AFCD-40EE-A07D-0BA84F98963A}" destId="{0648333C-F280-45E2-8E51-68985C181802}" srcOrd="4" destOrd="0" parTransId="{F7E9115B-F360-48C4-9F75-FD21CE8727F1}" sibTransId="{5F2318AB-5319-4768-9021-27CB24E0102D}"/>
    <dgm:cxn modelId="{CBB7AD1F-B0B4-44C1-A373-D9D15ABD105D}" type="presOf" srcId="{7E4C63ED-164F-46DC-A300-3740AB017AE3}" destId="{340B9E1A-4233-4FA1-A264-269CEAC68E27}" srcOrd="0" destOrd="0" presId="urn:microsoft.com/office/officeart/2005/8/layout/cycle5"/>
    <dgm:cxn modelId="{AAC1AD28-D160-46D6-B91A-E36FAA983178}" type="presOf" srcId="{9D4BEA15-E6C3-49F8-91FE-A62AFCF5F220}" destId="{5AB0F003-93FC-48F3-BE51-158512A6FF86}" srcOrd="0" destOrd="0" presId="urn:microsoft.com/office/officeart/2005/8/layout/cycle5"/>
    <dgm:cxn modelId="{13F0EF38-062A-4F84-9A2D-84DC926DAE2C}" type="presOf" srcId="{139F1C62-AFCD-40EE-A07D-0BA84F98963A}" destId="{794DC965-3FBD-4045-8605-2A4E5DA6D230}" srcOrd="0" destOrd="0" presId="urn:microsoft.com/office/officeart/2005/8/layout/cycle5"/>
    <dgm:cxn modelId="{25BC503D-FAF7-49F3-B501-E3FE946AE324}" type="presOf" srcId="{A3955D0E-B095-49DB-ACB7-155E8C752EE1}" destId="{657AE05B-1220-494B-8CB3-D26EC8BC182D}" srcOrd="0" destOrd="0" presId="urn:microsoft.com/office/officeart/2005/8/layout/cycle5"/>
    <dgm:cxn modelId="{4F2EB263-2641-4848-A732-42B6163269B3}" type="presOf" srcId="{5F2318AB-5319-4768-9021-27CB24E0102D}" destId="{BB0029C9-102A-45A9-B99C-750CA8ED6E59}" srcOrd="0" destOrd="0" presId="urn:microsoft.com/office/officeart/2005/8/layout/cycle5"/>
    <dgm:cxn modelId="{90877A8D-A315-4801-97CD-5278C6C5B43F}" type="presOf" srcId="{ED86CF05-D1B5-42C7-A103-0D05F2E07E2D}" destId="{4C676D33-2BDF-4179-B13C-AD425BF38774}" srcOrd="0" destOrd="0" presId="urn:microsoft.com/office/officeart/2005/8/layout/cycle5"/>
    <dgm:cxn modelId="{E3884D8E-4893-4C53-BA4F-11337683E97D}" srcId="{139F1C62-AFCD-40EE-A07D-0BA84F98963A}" destId="{7E4C63ED-164F-46DC-A300-3740AB017AE3}" srcOrd="1" destOrd="0" parTransId="{6213ECA3-C9D0-427D-90BB-416C2734F050}" sibTransId="{9D4BEA15-E6C3-49F8-91FE-A62AFCF5F220}"/>
    <dgm:cxn modelId="{5763BF9C-C033-474E-8ED7-653122926808}" type="presOf" srcId="{EF59AB04-0153-4B99-BE52-096ACB86372D}" destId="{6675A97E-367F-471C-AEC3-2990BBF7C1C9}" srcOrd="0" destOrd="0" presId="urn:microsoft.com/office/officeart/2005/8/layout/cycle5"/>
    <dgm:cxn modelId="{0A2D8AC0-5738-406E-BEFC-F8D58D7DB0D4}" srcId="{139F1C62-AFCD-40EE-A07D-0BA84F98963A}" destId="{C46028A9-F594-4EB2-8402-58E8882E5F10}" srcOrd="0" destOrd="0" parTransId="{C36A7577-43CD-4538-BA7E-7A916E8EF83C}" sibTransId="{A3955D0E-B095-49DB-ACB7-155E8C752EE1}"/>
    <dgm:cxn modelId="{55410BDB-C844-470F-964B-F40B2FCCAE57}" srcId="{139F1C62-AFCD-40EE-A07D-0BA84F98963A}" destId="{F7317E0F-5770-4BA5-A854-3FB3F05A1DF9}" srcOrd="2" destOrd="0" parTransId="{296E2EDA-0954-496A-BF11-9608B576FE21}" sibTransId="{ED86CF05-D1B5-42C7-A103-0D05F2E07E2D}"/>
    <dgm:cxn modelId="{10EEB5E7-B840-437C-BA73-C5CF71D92EC4}" srcId="{139F1C62-AFCD-40EE-A07D-0BA84F98963A}" destId="{EF59AB04-0153-4B99-BE52-096ACB86372D}" srcOrd="3" destOrd="0" parTransId="{0AC54467-88C2-4C14-9A9C-2B0714FD491F}" sibTransId="{89D64343-9287-4F1A-9BFC-0F8149B85FCE}"/>
    <dgm:cxn modelId="{386415F5-4C5E-42DC-9E70-5F4C6F509D97}" type="presOf" srcId="{89D64343-9287-4F1A-9BFC-0F8149B85FCE}" destId="{C3D54DDE-BD39-41E5-8621-5938448140C6}" srcOrd="0" destOrd="0" presId="urn:microsoft.com/office/officeart/2005/8/layout/cycle5"/>
    <dgm:cxn modelId="{B7E54364-8E81-4375-9224-0D5391D41F5D}" type="presParOf" srcId="{794DC965-3FBD-4045-8605-2A4E5DA6D230}" destId="{AA5D99E9-2FD3-49E7-B459-849BC8F0825D}" srcOrd="0" destOrd="0" presId="urn:microsoft.com/office/officeart/2005/8/layout/cycle5"/>
    <dgm:cxn modelId="{3C8B79B7-73EF-4D60-AE39-21F98670A2DA}" type="presParOf" srcId="{794DC965-3FBD-4045-8605-2A4E5DA6D230}" destId="{4ECAA49C-6BCD-48AD-98B6-348AD1CFD052}" srcOrd="1" destOrd="0" presId="urn:microsoft.com/office/officeart/2005/8/layout/cycle5"/>
    <dgm:cxn modelId="{C77ABD4A-634F-4208-B436-BB74F8B73B32}" type="presParOf" srcId="{794DC965-3FBD-4045-8605-2A4E5DA6D230}" destId="{657AE05B-1220-494B-8CB3-D26EC8BC182D}" srcOrd="2" destOrd="0" presId="urn:microsoft.com/office/officeart/2005/8/layout/cycle5"/>
    <dgm:cxn modelId="{DD4DFDA5-D86B-4F10-9EAA-BDBDEEBB96B1}" type="presParOf" srcId="{794DC965-3FBD-4045-8605-2A4E5DA6D230}" destId="{340B9E1A-4233-4FA1-A264-269CEAC68E27}" srcOrd="3" destOrd="0" presId="urn:microsoft.com/office/officeart/2005/8/layout/cycle5"/>
    <dgm:cxn modelId="{D4ECAB2D-B20C-408D-917C-D26544ED39EA}" type="presParOf" srcId="{794DC965-3FBD-4045-8605-2A4E5DA6D230}" destId="{1279E4F6-4011-4324-BAC5-589D17BA826D}" srcOrd="4" destOrd="0" presId="urn:microsoft.com/office/officeart/2005/8/layout/cycle5"/>
    <dgm:cxn modelId="{A9C81BA0-C2E1-401E-A292-8B020D9FF4FD}" type="presParOf" srcId="{794DC965-3FBD-4045-8605-2A4E5DA6D230}" destId="{5AB0F003-93FC-48F3-BE51-158512A6FF86}" srcOrd="5" destOrd="0" presId="urn:microsoft.com/office/officeart/2005/8/layout/cycle5"/>
    <dgm:cxn modelId="{E97B4ACA-B054-42C6-83E6-0C2BAA1F5F45}" type="presParOf" srcId="{794DC965-3FBD-4045-8605-2A4E5DA6D230}" destId="{C8412CBC-782D-47FD-AE74-864DB0D0E976}" srcOrd="6" destOrd="0" presId="urn:microsoft.com/office/officeart/2005/8/layout/cycle5"/>
    <dgm:cxn modelId="{9755C6D4-E456-4EB2-83FD-14FB209C812F}" type="presParOf" srcId="{794DC965-3FBD-4045-8605-2A4E5DA6D230}" destId="{A698FEA4-C015-411A-9B00-4D6FA9338D19}" srcOrd="7" destOrd="0" presId="urn:microsoft.com/office/officeart/2005/8/layout/cycle5"/>
    <dgm:cxn modelId="{413B7E0B-B6F8-4984-A98F-D9151C77EB1C}" type="presParOf" srcId="{794DC965-3FBD-4045-8605-2A4E5DA6D230}" destId="{4C676D33-2BDF-4179-B13C-AD425BF38774}" srcOrd="8" destOrd="0" presId="urn:microsoft.com/office/officeart/2005/8/layout/cycle5"/>
    <dgm:cxn modelId="{DCB103D8-5F58-4698-8F4E-ED4D32B71C6A}" type="presParOf" srcId="{794DC965-3FBD-4045-8605-2A4E5DA6D230}" destId="{6675A97E-367F-471C-AEC3-2990BBF7C1C9}" srcOrd="9" destOrd="0" presId="urn:microsoft.com/office/officeart/2005/8/layout/cycle5"/>
    <dgm:cxn modelId="{ACB3224F-21BD-448E-B26F-F3B56B8A64A3}" type="presParOf" srcId="{794DC965-3FBD-4045-8605-2A4E5DA6D230}" destId="{103BBD62-757E-4E3C-9994-10D9EF86AF14}" srcOrd="10" destOrd="0" presId="urn:microsoft.com/office/officeart/2005/8/layout/cycle5"/>
    <dgm:cxn modelId="{240B3E68-6FB2-41CF-8936-69ACD8D8411B}" type="presParOf" srcId="{794DC965-3FBD-4045-8605-2A4E5DA6D230}" destId="{C3D54DDE-BD39-41E5-8621-5938448140C6}" srcOrd="11" destOrd="0" presId="urn:microsoft.com/office/officeart/2005/8/layout/cycle5"/>
    <dgm:cxn modelId="{521AAD67-A34F-4521-ACEF-A7005ABD74F7}" type="presParOf" srcId="{794DC965-3FBD-4045-8605-2A4E5DA6D230}" destId="{95B45E8F-FAA7-49C2-BB6A-760149C665D6}" srcOrd="12" destOrd="0" presId="urn:microsoft.com/office/officeart/2005/8/layout/cycle5"/>
    <dgm:cxn modelId="{94C6A458-A687-4EB0-BB63-FAFC9A5023FD}" type="presParOf" srcId="{794DC965-3FBD-4045-8605-2A4E5DA6D230}" destId="{7E6A3494-DAF1-49CF-A37F-A10FCA80C697}" srcOrd="13" destOrd="0" presId="urn:microsoft.com/office/officeart/2005/8/layout/cycle5"/>
    <dgm:cxn modelId="{4217B4DD-9732-4F7A-B96A-0702B6DDF04C}" type="presParOf" srcId="{794DC965-3FBD-4045-8605-2A4E5DA6D230}" destId="{BB0029C9-102A-45A9-B99C-750CA8ED6E5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4DAB0F-3842-4550-B5F7-D0F92441F5DC}" type="doc">
      <dgm:prSet loTypeId="urn:microsoft.com/office/officeart/2005/8/layout/hProcess9" loCatId="process" qsTypeId="urn:microsoft.com/office/officeart/2005/8/quickstyle/simple1" qsCatId="simple" csTypeId="urn:microsoft.com/office/officeart/2005/8/colors/accent1_2" csCatId="accent1" phldr="1"/>
      <dgm:spPr/>
    </dgm:pt>
    <dgm:pt modelId="{C54C5581-1B40-42E2-B9CA-7FB99C2F11FC}" type="pres">
      <dgm:prSet presAssocID="{3B4DAB0F-3842-4550-B5F7-D0F92441F5DC}" presName="CompostProcess" presStyleCnt="0">
        <dgm:presLayoutVars>
          <dgm:dir/>
          <dgm:resizeHandles val="exact"/>
        </dgm:presLayoutVars>
      </dgm:prSet>
      <dgm:spPr/>
    </dgm:pt>
    <dgm:pt modelId="{AC1EF6BF-2E43-454B-A615-4F591E35E83C}" type="pres">
      <dgm:prSet presAssocID="{3B4DAB0F-3842-4550-B5F7-D0F92441F5DC}" presName="arrow" presStyleLbl="bgShp" presStyleIdx="0" presStyleCnt="1" custScaleX="117647" custLinFactNeighborX="2206" custLinFactNeighborY="-29091"/>
      <dgm:spPr>
        <a:blipFill rotWithShape="0">
          <a:blip xmlns:r="http://schemas.openxmlformats.org/officeDocument/2006/relationships" r:embed="rId1">
            <a:lum bright="-21000" contrast="36000"/>
          </a:blip>
          <a:stretch>
            <a:fillRect/>
          </a:stretch>
        </a:blipFill>
      </dgm:spPr>
    </dgm:pt>
    <dgm:pt modelId="{C0E0A32C-1D30-4173-9767-16B291C07DAF}" type="pres">
      <dgm:prSet presAssocID="{3B4DAB0F-3842-4550-B5F7-D0F92441F5DC}" presName="linearProcess" presStyleCnt="0"/>
      <dgm:spPr/>
    </dgm:pt>
  </dgm:ptLst>
  <dgm:cxnLst>
    <dgm:cxn modelId="{B9034D78-5C5A-47F9-8A94-CDBD1FFF24F2}" type="presOf" srcId="{3B4DAB0F-3842-4550-B5F7-D0F92441F5DC}" destId="{C54C5581-1B40-42E2-B9CA-7FB99C2F11FC}" srcOrd="0" destOrd="0" presId="urn:microsoft.com/office/officeart/2005/8/layout/hProcess9"/>
    <dgm:cxn modelId="{39F04B32-5C00-4EAD-817B-8833256B4636}" type="presParOf" srcId="{C54C5581-1B40-42E2-B9CA-7FB99C2F11FC}" destId="{AC1EF6BF-2E43-454B-A615-4F591E35E83C}" srcOrd="0" destOrd="0" presId="urn:microsoft.com/office/officeart/2005/8/layout/hProcess9"/>
    <dgm:cxn modelId="{ECE27CAF-129E-4852-9C7F-C1CBD7E5A872}" type="presParOf" srcId="{C54C5581-1B40-42E2-B9CA-7FB99C2F11FC}" destId="{C0E0A32C-1D30-4173-9767-16B291C07DAF}" srcOrd="1"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08B8D6-9E30-47E2-B50C-3F5FE1BBF104}"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en-US"/>
        </a:p>
      </dgm:t>
    </dgm:pt>
    <dgm:pt modelId="{39402184-CDF8-4FA9-93A9-F688795AF359}">
      <dgm:prSet phldrT="[Text]" custT="1"/>
      <dgm:spPr>
        <a:solidFill>
          <a:schemeClr val="tx1">
            <a:lumMod val="50000"/>
            <a:lumOff val="50000"/>
          </a:schemeClr>
        </a:solidFill>
      </dgm:spPr>
      <dgm:t>
        <a:bodyPr/>
        <a:lstStyle/>
        <a:p>
          <a:pPr algn="l"/>
          <a:r>
            <a:rPr kumimoji="0" lang="en-US" sz="2200" b="0" i="0" u="none" strike="noStrike" cap="none" normalizeH="0" baseline="0" dirty="0">
              <a:ln/>
              <a:effectLst/>
              <a:latin typeface="Calibri" pitchFamily="34" charset="0"/>
              <a:cs typeface="Arial" pitchFamily="34" charset="0"/>
            </a:rPr>
            <a:t> </a:t>
          </a:r>
          <a:r>
            <a:rPr kumimoji="0" lang="en-US" sz="3600" b="1" i="0" u="none" strike="noStrike" cap="none" normalizeH="0" baseline="0" dirty="0">
              <a:ln/>
              <a:solidFill>
                <a:schemeClr val="bg1"/>
              </a:solidFill>
              <a:effectLst/>
              <a:latin typeface="+mn-lt"/>
              <a:cs typeface="Arial" pitchFamily="34" charset="0"/>
            </a:rPr>
            <a:t>THE PAST:  </a:t>
          </a:r>
          <a:br>
            <a:rPr kumimoji="0" lang="en-US" sz="2800" b="1" i="0" u="none" strike="noStrike" cap="none" normalizeH="0" baseline="0" dirty="0">
              <a:ln/>
              <a:effectLst/>
              <a:latin typeface="+mn-lt"/>
              <a:cs typeface="Arial" pitchFamily="34" charset="0"/>
            </a:rPr>
          </a:br>
          <a:r>
            <a:rPr kumimoji="0" lang="en-US" sz="2800" b="0" i="0" u="none" strike="noStrike" cap="none" normalizeH="0" baseline="0" dirty="0">
              <a:ln/>
              <a:effectLst/>
              <a:latin typeface="+mn-lt"/>
              <a:cs typeface="Arial" pitchFamily="34" charset="0"/>
            </a:rPr>
            <a:t>Reflect back to when you first started in your current role   </a:t>
          </a:r>
          <a:endParaRPr lang="en-US" sz="2200" b="0" dirty="0"/>
        </a:p>
      </dgm:t>
    </dgm:pt>
    <dgm:pt modelId="{C2731CE2-270F-4B43-BF6D-CC557D4C5598}" type="parTrans" cxnId="{545EFDD8-7649-462E-8C80-4F9DF107AAEA}">
      <dgm:prSet/>
      <dgm:spPr/>
      <dgm:t>
        <a:bodyPr/>
        <a:lstStyle/>
        <a:p>
          <a:endParaRPr lang="en-US"/>
        </a:p>
      </dgm:t>
    </dgm:pt>
    <dgm:pt modelId="{9FCD4B93-4B4B-44CF-BE5C-9F8C9DF9082C}" type="sibTrans" cxnId="{545EFDD8-7649-462E-8C80-4F9DF107AAEA}">
      <dgm:prSet/>
      <dgm:spPr/>
      <dgm:t>
        <a:bodyPr/>
        <a:lstStyle/>
        <a:p>
          <a:endParaRPr lang="en-US"/>
        </a:p>
      </dgm:t>
    </dgm:pt>
    <dgm:pt modelId="{8C4CAF20-4FE2-4F14-AD35-B986F4E4FE76}">
      <dgm:prSet phldrT="[Text]" custT="1"/>
      <dgm:spPr>
        <a:solidFill>
          <a:schemeClr val="bg1">
            <a:lumMod val="50000"/>
            <a:alpha val="22000"/>
          </a:schemeClr>
        </a:solidFill>
      </dgm:spPr>
      <dgm:t>
        <a:bodyPr/>
        <a:lstStyle/>
        <a:p>
          <a:r>
            <a:rPr kumimoji="0" lang="en-US" sz="3200" b="1" i="0" u="none" strike="noStrike" cap="none" normalizeH="0" baseline="0" dirty="0">
              <a:ln/>
              <a:solidFill>
                <a:schemeClr val="tx1">
                  <a:lumMod val="75000"/>
                  <a:lumOff val="25000"/>
                </a:schemeClr>
              </a:solidFill>
              <a:effectLst/>
              <a:latin typeface="+mn-lt"/>
              <a:cs typeface="Arial" pitchFamily="34" charset="0"/>
            </a:rPr>
            <a:t>Where on the Continuum did you see yourself?</a:t>
          </a:r>
          <a:endParaRPr lang="en-US" sz="3200" b="1" dirty="0">
            <a:solidFill>
              <a:schemeClr val="tx1">
                <a:lumMod val="75000"/>
                <a:lumOff val="25000"/>
              </a:schemeClr>
            </a:solidFill>
          </a:endParaRPr>
        </a:p>
      </dgm:t>
    </dgm:pt>
    <dgm:pt modelId="{6053E6AB-CAE7-4828-8615-C33E2B97CC5B}" type="parTrans" cxnId="{B5F3F78D-0CD5-4693-A12C-7E129CF3F8A7}">
      <dgm:prSet/>
      <dgm:spPr/>
      <dgm:t>
        <a:bodyPr/>
        <a:lstStyle/>
        <a:p>
          <a:endParaRPr lang="en-US"/>
        </a:p>
      </dgm:t>
    </dgm:pt>
    <dgm:pt modelId="{553D5859-79D5-414B-AC36-5F7E7593735E}" type="sibTrans" cxnId="{B5F3F78D-0CD5-4693-A12C-7E129CF3F8A7}">
      <dgm:prSet/>
      <dgm:spPr/>
      <dgm:t>
        <a:bodyPr/>
        <a:lstStyle/>
        <a:p>
          <a:endParaRPr lang="en-US"/>
        </a:p>
      </dgm:t>
    </dgm:pt>
    <dgm:pt modelId="{399C03F3-735C-4C64-ADF0-CAC9D3C54C07}">
      <dgm:prSet phldrT="[Text]" custT="1"/>
      <dgm:spPr>
        <a:solidFill>
          <a:srgbClr val="92D050"/>
        </a:solidFill>
      </dgm:spPr>
      <dgm:t>
        <a:bodyPr/>
        <a:lstStyle/>
        <a:p>
          <a:pPr algn="l"/>
          <a:r>
            <a:rPr kumimoji="0" lang="en-US" sz="3600" b="1" i="0" u="none" strike="noStrike" cap="none" normalizeH="0" baseline="0" dirty="0">
              <a:ln/>
              <a:solidFill>
                <a:schemeClr val="bg1"/>
              </a:solidFill>
              <a:effectLst/>
              <a:latin typeface="+mn-lt"/>
              <a:cs typeface="Arial" pitchFamily="34" charset="0"/>
            </a:rPr>
            <a:t>THE PRESENT:  </a:t>
          </a:r>
          <a:br>
            <a:rPr kumimoji="0" lang="en-US" sz="3600" b="1" i="0" u="none" strike="noStrike" cap="none" normalizeH="0" baseline="0" dirty="0">
              <a:ln/>
              <a:solidFill>
                <a:schemeClr val="bg1"/>
              </a:solidFill>
              <a:effectLst/>
              <a:latin typeface="+mn-lt"/>
              <a:cs typeface="Arial" pitchFamily="34" charset="0"/>
            </a:rPr>
          </a:br>
          <a:r>
            <a:rPr kumimoji="0" lang="en-US" sz="2800" b="0" i="0" u="none" strike="noStrike" cap="none" normalizeH="0" baseline="0" dirty="0">
              <a:ln/>
              <a:effectLst/>
              <a:latin typeface="+mn-lt"/>
              <a:cs typeface="Arial" pitchFamily="34" charset="0"/>
            </a:rPr>
            <a:t>Reflect on your current role  </a:t>
          </a:r>
          <a:endParaRPr lang="en-US" sz="2800" b="0" dirty="0"/>
        </a:p>
      </dgm:t>
    </dgm:pt>
    <dgm:pt modelId="{76A8F142-46A4-4E4B-B9F6-43A1F8707C24}" type="parTrans" cxnId="{994F3F1A-6A88-4E58-8911-26886096C6F6}">
      <dgm:prSet/>
      <dgm:spPr/>
      <dgm:t>
        <a:bodyPr/>
        <a:lstStyle/>
        <a:p>
          <a:endParaRPr lang="en-US"/>
        </a:p>
      </dgm:t>
    </dgm:pt>
    <dgm:pt modelId="{D41A7831-1BAE-4C43-B1E6-D94AC6A40AE9}" type="sibTrans" cxnId="{994F3F1A-6A88-4E58-8911-26886096C6F6}">
      <dgm:prSet/>
      <dgm:spPr/>
      <dgm:t>
        <a:bodyPr/>
        <a:lstStyle/>
        <a:p>
          <a:endParaRPr lang="en-US"/>
        </a:p>
      </dgm:t>
    </dgm:pt>
    <dgm:pt modelId="{162FE3CD-F466-4B9E-AD0C-9CDA8935912B}">
      <dgm:prSet phldrT="[Text]" custT="1"/>
      <dgm:spPr>
        <a:solidFill>
          <a:srgbClr val="92D050">
            <a:alpha val="33000"/>
          </a:srgbClr>
        </a:solidFill>
      </dgm:spPr>
      <dgm:t>
        <a:bodyPr/>
        <a:lstStyle/>
        <a:p>
          <a:r>
            <a:rPr kumimoji="0" lang="en-US" sz="3200" b="1" i="0" u="none" strike="noStrike" cap="none" normalizeH="0" baseline="0" dirty="0">
              <a:ln/>
              <a:solidFill>
                <a:schemeClr val="tx1">
                  <a:lumMod val="75000"/>
                  <a:lumOff val="25000"/>
                </a:schemeClr>
              </a:solidFill>
              <a:effectLst/>
              <a:latin typeface="+mn-lt"/>
              <a:cs typeface="Arial" pitchFamily="34" charset="0"/>
            </a:rPr>
            <a:t>Where do you see yourself now?  </a:t>
          </a:r>
          <a:endParaRPr lang="en-US" sz="3200" b="1" dirty="0">
            <a:solidFill>
              <a:schemeClr val="tx1">
                <a:lumMod val="75000"/>
                <a:lumOff val="25000"/>
              </a:schemeClr>
            </a:solidFill>
          </a:endParaRPr>
        </a:p>
      </dgm:t>
    </dgm:pt>
    <dgm:pt modelId="{1E9AD636-10D1-41F7-BD85-1FF1A4641333}" type="parTrans" cxnId="{3D191978-05E8-49C4-AD11-25A3F19374D5}">
      <dgm:prSet/>
      <dgm:spPr/>
      <dgm:t>
        <a:bodyPr/>
        <a:lstStyle/>
        <a:p>
          <a:endParaRPr lang="en-US"/>
        </a:p>
      </dgm:t>
    </dgm:pt>
    <dgm:pt modelId="{5246D32D-2E20-43E0-AB85-2F4519395C02}" type="sibTrans" cxnId="{3D191978-05E8-49C4-AD11-25A3F19374D5}">
      <dgm:prSet/>
      <dgm:spPr/>
      <dgm:t>
        <a:bodyPr/>
        <a:lstStyle/>
        <a:p>
          <a:endParaRPr lang="en-US"/>
        </a:p>
      </dgm:t>
    </dgm:pt>
    <dgm:pt modelId="{C35C9FA1-A3AD-4432-A4EE-6A247F5D46DF}">
      <dgm:prSet phldrT="[Text]" custT="1"/>
      <dgm:spPr>
        <a:solidFill>
          <a:srgbClr val="00B0F0"/>
        </a:solidFill>
      </dgm:spPr>
      <dgm:t>
        <a:bodyPr/>
        <a:lstStyle/>
        <a:p>
          <a:pPr algn="l"/>
          <a:endParaRPr kumimoji="0" lang="en-US" sz="3200" b="1" i="0" u="none" strike="noStrike" cap="none" normalizeH="0" baseline="0" dirty="0">
            <a:ln/>
            <a:effectLst/>
            <a:latin typeface="+mn-lt"/>
            <a:cs typeface="Arial" pitchFamily="34" charset="0"/>
          </a:endParaRPr>
        </a:p>
        <a:p>
          <a:pPr algn="l"/>
          <a:endParaRPr kumimoji="0" lang="en-US" sz="3200" b="1" i="0" u="none" strike="noStrike" cap="none" normalizeH="0" baseline="0" dirty="0">
            <a:ln/>
            <a:effectLst/>
            <a:latin typeface="+mn-lt"/>
            <a:cs typeface="Arial" pitchFamily="34" charset="0"/>
          </a:endParaRPr>
        </a:p>
        <a:p>
          <a:pPr algn="l"/>
          <a:r>
            <a:rPr kumimoji="0" lang="en-US" sz="3600" b="1" i="0" u="none" strike="noStrike" cap="none" normalizeH="0" baseline="0" dirty="0">
              <a:ln/>
              <a:solidFill>
                <a:schemeClr val="bg1"/>
              </a:solidFill>
              <a:effectLst/>
              <a:latin typeface="+mn-lt"/>
              <a:cs typeface="Arial" pitchFamily="34" charset="0"/>
            </a:rPr>
            <a:t>THE FUTURE:  </a:t>
          </a:r>
          <a:br>
            <a:rPr kumimoji="0" lang="en-US" sz="2800" b="1" i="0" u="none" strike="noStrike" cap="none" normalizeH="0" baseline="0" dirty="0">
              <a:ln/>
              <a:effectLst/>
              <a:latin typeface="+mn-lt"/>
              <a:cs typeface="Arial" pitchFamily="34" charset="0"/>
            </a:rPr>
          </a:br>
          <a:r>
            <a:rPr kumimoji="0" lang="en-US" sz="2800" b="0" i="0" u="none" strike="noStrike" cap="none" normalizeH="0" baseline="0" dirty="0">
              <a:ln/>
              <a:effectLst/>
              <a:latin typeface="+mn-lt"/>
              <a:cs typeface="Arial" pitchFamily="34" charset="0"/>
            </a:rPr>
            <a:t>Thinking ahead, where do you have the potential and desire to move?  </a:t>
          </a:r>
        </a:p>
        <a:p>
          <a:pPr algn="l"/>
          <a:endParaRPr kumimoji="0" lang="en-US" sz="3200" b="1" i="0" u="none" strike="noStrike" cap="none" normalizeH="0" baseline="0" dirty="0">
            <a:ln/>
            <a:effectLst/>
            <a:latin typeface="+mn-lt"/>
            <a:cs typeface="Arial" pitchFamily="34" charset="0"/>
          </a:endParaRPr>
        </a:p>
        <a:p>
          <a:pPr algn="l"/>
          <a:endParaRPr lang="en-US" sz="3200" dirty="0"/>
        </a:p>
      </dgm:t>
    </dgm:pt>
    <dgm:pt modelId="{F6E0A4EB-E98D-4E78-A5C9-5710557C1918}" type="parTrans" cxnId="{78ADDC5C-B88D-4BBD-83D4-B6640FB2218C}">
      <dgm:prSet/>
      <dgm:spPr/>
      <dgm:t>
        <a:bodyPr/>
        <a:lstStyle/>
        <a:p>
          <a:endParaRPr lang="en-US"/>
        </a:p>
      </dgm:t>
    </dgm:pt>
    <dgm:pt modelId="{D92BDD51-5142-4EB9-93A2-605276A07AE8}" type="sibTrans" cxnId="{78ADDC5C-B88D-4BBD-83D4-B6640FB2218C}">
      <dgm:prSet/>
      <dgm:spPr/>
      <dgm:t>
        <a:bodyPr/>
        <a:lstStyle/>
        <a:p>
          <a:endParaRPr lang="en-US"/>
        </a:p>
      </dgm:t>
    </dgm:pt>
    <dgm:pt modelId="{6D6BA9F2-5AAF-440E-8E6B-94B2C46D08F5}">
      <dgm:prSet phldrT="[Text]" custT="1"/>
      <dgm:spPr>
        <a:solidFill>
          <a:srgbClr val="00B0F0">
            <a:alpha val="33000"/>
          </a:srgbClr>
        </a:solidFill>
      </dgm:spPr>
      <dgm:t>
        <a:bodyPr anchor="ctr" anchorCtr="0"/>
        <a:lstStyle/>
        <a:p>
          <a:r>
            <a:rPr kumimoji="0" lang="en-US" sz="3200" b="1" i="0" u="none" strike="noStrike" cap="none" normalizeH="0" baseline="0" dirty="0">
              <a:ln/>
              <a:solidFill>
                <a:schemeClr val="tx1">
                  <a:lumMod val="75000"/>
                  <a:lumOff val="25000"/>
                </a:schemeClr>
              </a:solidFill>
              <a:effectLst/>
              <a:latin typeface="+mn-lt"/>
              <a:cs typeface="Arial" pitchFamily="34" charset="0"/>
            </a:rPr>
            <a:t>What is one thing you can do to move ahead?</a:t>
          </a:r>
          <a:endParaRPr lang="en-US" sz="3200" b="1" dirty="0">
            <a:solidFill>
              <a:schemeClr val="tx1">
                <a:lumMod val="75000"/>
                <a:lumOff val="25000"/>
              </a:schemeClr>
            </a:solidFill>
          </a:endParaRPr>
        </a:p>
      </dgm:t>
    </dgm:pt>
    <dgm:pt modelId="{6B1175BC-8AD7-463B-86C9-D4997506065E}" type="parTrans" cxnId="{7E0F7A41-6679-47F8-A12C-1DA09C401865}">
      <dgm:prSet/>
      <dgm:spPr/>
      <dgm:t>
        <a:bodyPr/>
        <a:lstStyle/>
        <a:p>
          <a:endParaRPr lang="en-US"/>
        </a:p>
      </dgm:t>
    </dgm:pt>
    <dgm:pt modelId="{24309BA3-7B8F-4163-8030-AEA9BEBE4558}" type="sibTrans" cxnId="{7E0F7A41-6679-47F8-A12C-1DA09C401865}">
      <dgm:prSet/>
      <dgm:spPr/>
      <dgm:t>
        <a:bodyPr/>
        <a:lstStyle/>
        <a:p>
          <a:endParaRPr lang="en-US"/>
        </a:p>
      </dgm:t>
    </dgm:pt>
    <dgm:pt modelId="{96E8727A-2054-4521-A3EB-D4DC49EEBDC1}">
      <dgm:prSet phldrT="[Text]" custT="1"/>
      <dgm:spPr>
        <a:solidFill>
          <a:srgbClr val="92D050">
            <a:alpha val="33000"/>
          </a:srgbClr>
        </a:solidFill>
      </dgm:spPr>
      <dgm:t>
        <a:bodyPr/>
        <a:lstStyle/>
        <a:p>
          <a:r>
            <a:rPr kumimoji="0" lang="en-US" sz="3200" b="1" i="0" u="none" strike="noStrike" cap="none" normalizeH="0" baseline="0" dirty="0">
              <a:ln/>
              <a:solidFill>
                <a:schemeClr val="tx1">
                  <a:lumMod val="75000"/>
                  <a:lumOff val="25000"/>
                </a:schemeClr>
              </a:solidFill>
              <a:effectLst/>
              <a:latin typeface="+mn-lt"/>
              <a:cs typeface="Arial" pitchFamily="34" charset="0"/>
            </a:rPr>
            <a:t>Would you put yourself in different places depending upon the various aspects of your job?     </a:t>
          </a:r>
          <a:endParaRPr lang="en-US" sz="3200" b="1" dirty="0">
            <a:solidFill>
              <a:schemeClr val="tx1">
                <a:lumMod val="75000"/>
                <a:lumOff val="25000"/>
              </a:schemeClr>
            </a:solidFill>
          </a:endParaRPr>
        </a:p>
      </dgm:t>
    </dgm:pt>
    <dgm:pt modelId="{1D99D7FF-76BB-4484-B462-1D86B69EBCDF}" type="parTrans" cxnId="{99F67F81-35BB-42DC-9AD4-AB402295D573}">
      <dgm:prSet/>
      <dgm:spPr/>
      <dgm:t>
        <a:bodyPr/>
        <a:lstStyle/>
        <a:p>
          <a:endParaRPr lang="en-US"/>
        </a:p>
      </dgm:t>
    </dgm:pt>
    <dgm:pt modelId="{02A2EABC-91DA-44E4-A9DF-282201D42B71}" type="sibTrans" cxnId="{99F67F81-35BB-42DC-9AD4-AB402295D573}">
      <dgm:prSet/>
      <dgm:spPr/>
      <dgm:t>
        <a:bodyPr/>
        <a:lstStyle/>
        <a:p>
          <a:endParaRPr lang="en-US"/>
        </a:p>
      </dgm:t>
    </dgm:pt>
    <dgm:pt modelId="{D6C80387-F346-419F-8A27-7FC5805072D7}">
      <dgm:prSet phldrT="[Text]" custT="1"/>
      <dgm:spPr>
        <a:solidFill>
          <a:schemeClr val="bg1">
            <a:lumMod val="50000"/>
            <a:alpha val="22000"/>
          </a:schemeClr>
        </a:solidFill>
      </dgm:spPr>
      <dgm:t>
        <a:bodyPr/>
        <a:lstStyle/>
        <a:p>
          <a:endParaRPr lang="en-US" sz="3200" b="1" dirty="0"/>
        </a:p>
      </dgm:t>
    </dgm:pt>
    <dgm:pt modelId="{AB42F27B-B556-4EE2-B68A-5ADCA5D680EC}" type="parTrans" cxnId="{F02FF14A-F3C3-4E5C-83C7-F6FC202B9379}">
      <dgm:prSet/>
      <dgm:spPr/>
      <dgm:t>
        <a:bodyPr/>
        <a:lstStyle/>
        <a:p>
          <a:endParaRPr lang="en-US"/>
        </a:p>
      </dgm:t>
    </dgm:pt>
    <dgm:pt modelId="{E1819ACE-0AF1-4D22-9298-594A0A9D6D3B}" type="sibTrans" cxnId="{F02FF14A-F3C3-4E5C-83C7-F6FC202B9379}">
      <dgm:prSet/>
      <dgm:spPr/>
      <dgm:t>
        <a:bodyPr/>
        <a:lstStyle/>
        <a:p>
          <a:endParaRPr lang="en-US"/>
        </a:p>
      </dgm:t>
    </dgm:pt>
    <dgm:pt modelId="{336E562F-C129-46F2-96B1-C632CF31BBF0}" type="pres">
      <dgm:prSet presAssocID="{2608B8D6-9E30-47E2-B50C-3F5FE1BBF104}" presName="Name0" presStyleCnt="0">
        <dgm:presLayoutVars>
          <dgm:dir/>
          <dgm:animLvl val="lvl"/>
          <dgm:resizeHandles/>
        </dgm:presLayoutVars>
      </dgm:prSet>
      <dgm:spPr/>
    </dgm:pt>
    <dgm:pt modelId="{682B42AE-3779-4230-8A1E-3898DFB699AA}" type="pres">
      <dgm:prSet presAssocID="{39402184-CDF8-4FA9-93A9-F688795AF359}" presName="linNode" presStyleCnt="0"/>
      <dgm:spPr/>
    </dgm:pt>
    <dgm:pt modelId="{39FD2768-1CB6-4F45-8C93-F5E6A7974B54}" type="pres">
      <dgm:prSet presAssocID="{39402184-CDF8-4FA9-93A9-F688795AF359}" presName="parentShp" presStyleLbl="node1" presStyleIdx="0" presStyleCnt="3" custAng="0" custScaleX="75132" custLinFactNeighborX="258" custLinFactNeighborY="43">
        <dgm:presLayoutVars>
          <dgm:bulletEnabled val="1"/>
        </dgm:presLayoutVars>
      </dgm:prSet>
      <dgm:spPr/>
    </dgm:pt>
    <dgm:pt modelId="{B90BD274-1C43-46F8-AC13-D94864C77D68}" type="pres">
      <dgm:prSet presAssocID="{39402184-CDF8-4FA9-93A9-F688795AF359}" presName="childShp" presStyleLbl="bgAccFollowNode1" presStyleIdx="0" presStyleCnt="3">
        <dgm:presLayoutVars>
          <dgm:bulletEnabled val="1"/>
        </dgm:presLayoutVars>
      </dgm:prSet>
      <dgm:spPr/>
    </dgm:pt>
    <dgm:pt modelId="{656A6004-18D1-4E00-B4AE-56634E8BF3E8}" type="pres">
      <dgm:prSet presAssocID="{9FCD4B93-4B4B-44CF-BE5C-9F8C9DF9082C}" presName="spacing" presStyleCnt="0"/>
      <dgm:spPr/>
    </dgm:pt>
    <dgm:pt modelId="{BEBE13D5-0887-4AF1-904E-21E073A5D814}" type="pres">
      <dgm:prSet presAssocID="{399C03F3-735C-4C64-ADF0-CAC9D3C54C07}" presName="linNode" presStyleCnt="0"/>
      <dgm:spPr/>
    </dgm:pt>
    <dgm:pt modelId="{F2E60C00-5EC9-4CC2-9BB3-2B0ECF98205B}" type="pres">
      <dgm:prSet presAssocID="{399C03F3-735C-4C64-ADF0-CAC9D3C54C07}" presName="parentShp" presStyleLbl="node1" presStyleIdx="1" presStyleCnt="3" custScaleX="75132">
        <dgm:presLayoutVars>
          <dgm:bulletEnabled val="1"/>
        </dgm:presLayoutVars>
      </dgm:prSet>
      <dgm:spPr/>
    </dgm:pt>
    <dgm:pt modelId="{672AB031-25D2-4DE0-9B0F-E3302FD26A0D}" type="pres">
      <dgm:prSet presAssocID="{399C03F3-735C-4C64-ADF0-CAC9D3C54C07}" presName="childShp" presStyleLbl="bgAccFollowNode1" presStyleIdx="1" presStyleCnt="3" custScaleY="117040">
        <dgm:presLayoutVars>
          <dgm:bulletEnabled val="1"/>
        </dgm:presLayoutVars>
      </dgm:prSet>
      <dgm:spPr/>
    </dgm:pt>
    <dgm:pt modelId="{B332D504-4F25-4500-9292-3A1257EAA033}" type="pres">
      <dgm:prSet presAssocID="{D41A7831-1BAE-4C43-B1E6-D94AC6A40AE9}" presName="spacing" presStyleCnt="0"/>
      <dgm:spPr/>
    </dgm:pt>
    <dgm:pt modelId="{7A808793-9076-432A-A087-E43AE2217AB7}" type="pres">
      <dgm:prSet presAssocID="{C35C9FA1-A3AD-4432-A4EE-6A247F5D46DF}" presName="linNode" presStyleCnt="0"/>
      <dgm:spPr/>
    </dgm:pt>
    <dgm:pt modelId="{44A8560F-E114-487E-B2C7-B07B1F5DFEF1}" type="pres">
      <dgm:prSet presAssocID="{C35C9FA1-A3AD-4432-A4EE-6A247F5D46DF}" presName="parentShp" presStyleLbl="node1" presStyleIdx="2" presStyleCnt="3" custScaleX="82645">
        <dgm:presLayoutVars>
          <dgm:bulletEnabled val="1"/>
        </dgm:presLayoutVars>
      </dgm:prSet>
      <dgm:spPr/>
    </dgm:pt>
    <dgm:pt modelId="{B328ED32-A58C-4490-AEDF-65386DCB1412}" type="pres">
      <dgm:prSet presAssocID="{C35C9FA1-A3AD-4432-A4EE-6A247F5D46DF}" presName="childShp" presStyleLbl="bgAccFollowNode1" presStyleIdx="2" presStyleCnt="3">
        <dgm:presLayoutVars>
          <dgm:bulletEnabled val="1"/>
        </dgm:presLayoutVars>
      </dgm:prSet>
      <dgm:spPr/>
    </dgm:pt>
  </dgm:ptLst>
  <dgm:cxnLst>
    <dgm:cxn modelId="{994F3F1A-6A88-4E58-8911-26886096C6F6}" srcId="{2608B8D6-9E30-47E2-B50C-3F5FE1BBF104}" destId="{399C03F3-735C-4C64-ADF0-CAC9D3C54C07}" srcOrd="1" destOrd="0" parTransId="{76A8F142-46A4-4E4B-B9F6-43A1F8707C24}" sibTransId="{D41A7831-1BAE-4C43-B1E6-D94AC6A40AE9}"/>
    <dgm:cxn modelId="{A3F10E1C-2F26-458B-88C2-4DC84F468F78}" type="presOf" srcId="{D6C80387-F346-419F-8A27-7FC5805072D7}" destId="{B90BD274-1C43-46F8-AC13-D94864C77D68}" srcOrd="0" destOrd="0" presId="urn:microsoft.com/office/officeart/2005/8/layout/vList6"/>
    <dgm:cxn modelId="{78ADDC5C-B88D-4BBD-83D4-B6640FB2218C}" srcId="{2608B8D6-9E30-47E2-B50C-3F5FE1BBF104}" destId="{C35C9FA1-A3AD-4432-A4EE-6A247F5D46DF}" srcOrd="2" destOrd="0" parTransId="{F6E0A4EB-E98D-4E78-A5C9-5710557C1918}" sibTransId="{D92BDD51-5142-4EB9-93A2-605276A07AE8}"/>
    <dgm:cxn modelId="{7E0F7A41-6679-47F8-A12C-1DA09C401865}" srcId="{C35C9FA1-A3AD-4432-A4EE-6A247F5D46DF}" destId="{6D6BA9F2-5AAF-440E-8E6B-94B2C46D08F5}" srcOrd="0" destOrd="0" parTransId="{6B1175BC-8AD7-463B-86C9-D4997506065E}" sibTransId="{24309BA3-7B8F-4163-8030-AEA9BEBE4558}"/>
    <dgm:cxn modelId="{F02FF14A-F3C3-4E5C-83C7-F6FC202B9379}" srcId="{39402184-CDF8-4FA9-93A9-F688795AF359}" destId="{D6C80387-F346-419F-8A27-7FC5805072D7}" srcOrd="0" destOrd="0" parTransId="{AB42F27B-B556-4EE2-B68A-5ADCA5D680EC}" sibTransId="{E1819ACE-0AF1-4D22-9298-594A0A9D6D3B}"/>
    <dgm:cxn modelId="{3D191978-05E8-49C4-AD11-25A3F19374D5}" srcId="{399C03F3-735C-4C64-ADF0-CAC9D3C54C07}" destId="{162FE3CD-F466-4B9E-AD0C-9CDA8935912B}" srcOrd="0" destOrd="0" parTransId="{1E9AD636-10D1-41F7-BD85-1FF1A4641333}" sibTransId="{5246D32D-2E20-43E0-AB85-2F4519395C02}"/>
    <dgm:cxn modelId="{E430047B-2E2F-4343-82FB-DB9ACF223EB7}" type="presOf" srcId="{8C4CAF20-4FE2-4F14-AD35-B986F4E4FE76}" destId="{B90BD274-1C43-46F8-AC13-D94864C77D68}" srcOrd="0" destOrd="1" presId="urn:microsoft.com/office/officeart/2005/8/layout/vList6"/>
    <dgm:cxn modelId="{A0462980-3BEE-498E-A16A-E41594208AAC}" type="presOf" srcId="{162FE3CD-F466-4B9E-AD0C-9CDA8935912B}" destId="{672AB031-25D2-4DE0-9B0F-E3302FD26A0D}" srcOrd="0" destOrd="0" presId="urn:microsoft.com/office/officeart/2005/8/layout/vList6"/>
    <dgm:cxn modelId="{99F67F81-35BB-42DC-9AD4-AB402295D573}" srcId="{399C03F3-735C-4C64-ADF0-CAC9D3C54C07}" destId="{96E8727A-2054-4521-A3EB-D4DC49EEBDC1}" srcOrd="1" destOrd="0" parTransId="{1D99D7FF-76BB-4484-B462-1D86B69EBCDF}" sibTransId="{02A2EABC-91DA-44E4-A9DF-282201D42B71}"/>
    <dgm:cxn modelId="{27513C82-8F74-48F0-8F7B-EFB3AD4F7B64}" type="presOf" srcId="{2608B8D6-9E30-47E2-B50C-3F5FE1BBF104}" destId="{336E562F-C129-46F2-96B1-C632CF31BBF0}" srcOrd="0" destOrd="0" presId="urn:microsoft.com/office/officeart/2005/8/layout/vList6"/>
    <dgm:cxn modelId="{B5F3F78D-0CD5-4693-A12C-7E129CF3F8A7}" srcId="{39402184-CDF8-4FA9-93A9-F688795AF359}" destId="{8C4CAF20-4FE2-4F14-AD35-B986F4E4FE76}" srcOrd="1" destOrd="0" parTransId="{6053E6AB-CAE7-4828-8615-C33E2B97CC5B}" sibTransId="{553D5859-79D5-414B-AC36-5F7E7593735E}"/>
    <dgm:cxn modelId="{EFF193A8-9F03-4D79-9894-596CD7A5BD8A}" type="presOf" srcId="{6D6BA9F2-5AAF-440E-8E6B-94B2C46D08F5}" destId="{B328ED32-A58C-4490-AEDF-65386DCB1412}" srcOrd="0" destOrd="0" presId="urn:microsoft.com/office/officeart/2005/8/layout/vList6"/>
    <dgm:cxn modelId="{C20D16D1-915B-4BEB-BBBA-3D107F533071}" type="presOf" srcId="{399C03F3-735C-4C64-ADF0-CAC9D3C54C07}" destId="{F2E60C00-5EC9-4CC2-9BB3-2B0ECF98205B}" srcOrd="0" destOrd="0" presId="urn:microsoft.com/office/officeart/2005/8/layout/vList6"/>
    <dgm:cxn modelId="{D6D887D7-459E-4AE8-817C-8C1BAF8F9BCD}" type="presOf" srcId="{39402184-CDF8-4FA9-93A9-F688795AF359}" destId="{39FD2768-1CB6-4F45-8C93-F5E6A7974B54}" srcOrd="0" destOrd="0" presId="urn:microsoft.com/office/officeart/2005/8/layout/vList6"/>
    <dgm:cxn modelId="{545EFDD8-7649-462E-8C80-4F9DF107AAEA}" srcId="{2608B8D6-9E30-47E2-B50C-3F5FE1BBF104}" destId="{39402184-CDF8-4FA9-93A9-F688795AF359}" srcOrd="0" destOrd="0" parTransId="{C2731CE2-270F-4B43-BF6D-CC557D4C5598}" sibTransId="{9FCD4B93-4B4B-44CF-BE5C-9F8C9DF9082C}"/>
    <dgm:cxn modelId="{9E4A18DF-AF67-401A-8ED8-390FF498FEE2}" type="presOf" srcId="{96E8727A-2054-4521-A3EB-D4DC49EEBDC1}" destId="{672AB031-25D2-4DE0-9B0F-E3302FD26A0D}" srcOrd="0" destOrd="1" presId="urn:microsoft.com/office/officeart/2005/8/layout/vList6"/>
    <dgm:cxn modelId="{A66DB3E5-E965-4781-8FCC-8460763D0513}" type="presOf" srcId="{C35C9FA1-A3AD-4432-A4EE-6A247F5D46DF}" destId="{44A8560F-E114-487E-B2C7-B07B1F5DFEF1}" srcOrd="0" destOrd="0" presId="urn:microsoft.com/office/officeart/2005/8/layout/vList6"/>
    <dgm:cxn modelId="{2BF66C2D-3DD3-4BB8-879D-A54DA25D099D}" type="presParOf" srcId="{336E562F-C129-46F2-96B1-C632CF31BBF0}" destId="{682B42AE-3779-4230-8A1E-3898DFB699AA}" srcOrd="0" destOrd="0" presId="urn:microsoft.com/office/officeart/2005/8/layout/vList6"/>
    <dgm:cxn modelId="{6F11F557-6C38-4866-967E-DB85A06BDFF3}" type="presParOf" srcId="{682B42AE-3779-4230-8A1E-3898DFB699AA}" destId="{39FD2768-1CB6-4F45-8C93-F5E6A7974B54}" srcOrd="0" destOrd="0" presId="urn:microsoft.com/office/officeart/2005/8/layout/vList6"/>
    <dgm:cxn modelId="{1426BA4E-25AC-457C-B009-067BDE9368A2}" type="presParOf" srcId="{682B42AE-3779-4230-8A1E-3898DFB699AA}" destId="{B90BD274-1C43-46F8-AC13-D94864C77D68}" srcOrd="1" destOrd="0" presId="urn:microsoft.com/office/officeart/2005/8/layout/vList6"/>
    <dgm:cxn modelId="{1495FAD6-A9D0-49DF-8037-2B572CB87D8A}" type="presParOf" srcId="{336E562F-C129-46F2-96B1-C632CF31BBF0}" destId="{656A6004-18D1-4E00-B4AE-56634E8BF3E8}" srcOrd="1" destOrd="0" presId="urn:microsoft.com/office/officeart/2005/8/layout/vList6"/>
    <dgm:cxn modelId="{991A5C54-778D-49CA-9E0B-38ABB22899D6}" type="presParOf" srcId="{336E562F-C129-46F2-96B1-C632CF31BBF0}" destId="{BEBE13D5-0887-4AF1-904E-21E073A5D814}" srcOrd="2" destOrd="0" presId="urn:microsoft.com/office/officeart/2005/8/layout/vList6"/>
    <dgm:cxn modelId="{917E2CAE-AF03-432F-8D73-750399611238}" type="presParOf" srcId="{BEBE13D5-0887-4AF1-904E-21E073A5D814}" destId="{F2E60C00-5EC9-4CC2-9BB3-2B0ECF98205B}" srcOrd="0" destOrd="0" presId="urn:microsoft.com/office/officeart/2005/8/layout/vList6"/>
    <dgm:cxn modelId="{D0FEAEC5-131B-46E2-85FA-28292EA08AFF}" type="presParOf" srcId="{BEBE13D5-0887-4AF1-904E-21E073A5D814}" destId="{672AB031-25D2-4DE0-9B0F-E3302FD26A0D}" srcOrd="1" destOrd="0" presId="urn:microsoft.com/office/officeart/2005/8/layout/vList6"/>
    <dgm:cxn modelId="{A095B0AC-A093-46A0-8E27-5EB802FD4570}" type="presParOf" srcId="{336E562F-C129-46F2-96B1-C632CF31BBF0}" destId="{B332D504-4F25-4500-9292-3A1257EAA033}" srcOrd="3" destOrd="0" presId="urn:microsoft.com/office/officeart/2005/8/layout/vList6"/>
    <dgm:cxn modelId="{9D358887-6353-4E96-9850-BDB4BC663AD0}" type="presParOf" srcId="{336E562F-C129-46F2-96B1-C632CF31BBF0}" destId="{7A808793-9076-432A-A087-E43AE2217AB7}" srcOrd="4" destOrd="0" presId="urn:microsoft.com/office/officeart/2005/8/layout/vList6"/>
    <dgm:cxn modelId="{CEF933C1-BD1F-451E-9DB8-ADE5945B1753}" type="presParOf" srcId="{7A808793-9076-432A-A087-E43AE2217AB7}" destId="{44A8560F-E114-487E-B2C7-B07B1F5DFEF1}" srcOrd="0" destOrd="0" presId="urn:microsoft.com/office/officeart/2005/8/layout/vList6"/>
    <dgm:cxn modelId="{AE03E62B-13E6-43CA-B73C-59746983EC2F}" type="presParOf" srcId="{7A808793-9076-432A-A087-E43AE2217AB7}" destId="{B328ED32-A58C-4490-AEDF-65386DCB1412}"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CF2201B-9128-4080-993D-FBFD4DEDDE22}"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B09E0A40-D6AF-4185-B540-28D7B5A1B4F0}">
      <dgm:prSet phldrT="[Text]" phldr="1"/>
      <dgm:spPr>
        <a:solidFill>
          <a:schemeClr val="bg1">
            <a:lumMod val="75000"/>
          </a:schemeClr>
        </a:solidFill>
      </dgm:spPr>
      <dgm:t>
        <a:bodyPr/>
        <a:lstStyle/>
        <a:p>
          <a:endParaRPr lang="en-US" dirty="0">
            <a:solidFill>
              <a:schemeClr val="bg1">
                <a:lumMod val="75000"/>
              </a:schemeClr>
            </a:solidFill>
          </a:endParaRPr>
        </a:p>
      </dgm:t>
    </dgm:pt>
    <dgm:pt modelId="{54F326FF-69B4-4E01-95F0-E95678598FC4}" type="parTrans" cxnId="{705CDC67-2E56-4382-8170-FAE3658C05AA}">
      <dgm:prSet/>
      <dgm:spPr/>
      <dgm:t>
        <a:bodyPr/>
        <a:lstStyle/>
        <a:p>
          <a:endParaRPr lang="en-US"/>
        </a:p>
      </dgm:t>
    </dgm:pt>
    <dgm:pt modelId="{F9B817DE-019C-4472-BBFC-0FADBAA561CD}" type="sibTrans" cxnId="{705CDC67-2E56-4382-8170-FAE3658C05AA}">
      <dgm:prSet/>
      <dgm:spPr/>
      <dgm:t>
        <a:bodyPr/>
        <a:lstStyle/>
        <a:p>
          <a:endParaRPr lang="en-US"/>
        </a:p>
      </dgm:t>
    </dgm:pt>
    <dgm:pt modelId="{12B6E7F5-0909-4C20-8778-EA30F055358F}">
      <dgm:prSet phldrT="[Text]" phldr="1"/>
      <dgm:spPr>
        <a:solidFill>
          <a:schemeClr val="bg1">
            <a:lumMod val="75000"/>
          </a:schemeClr>
        </a:solidFill>
      </dgm:spPr>
      <dgm:t>
        <a:bodyPr/>
        <a:lstStyle/>
        <a:p>
          <a:endParaRPr lang="en-US" dirty="0">
            <a:solidFill>
              <a:schemeClr val="bg1">
                <a:lumMod val="75000"/>
              </a:schemeClr>
            </a:solidFill>
          </a:endParaRPr>
        </a:p>
      </dgm:t>
    </dgm:pt>
    <dgm:pt modelId="{E89E5B37-3E11-4287-88B2-1E495CA8AC75}" type="parTrans" cxnId="{99E725FA-BA8B-49A6-831D-648C7183240F}">
      <dgm:prSet/>
      <dgm:spPr>
        <a:ln>
          <a:solidFill>
            <a:schemeClr val="tx2"/>
          </a:solidFill>
        </a:ln>
      </dgm:spPr>
      <dgm:t>
        <a:bodyPr/>
        <a:lstStyle/>
        <a:p>
          <a:endParaRPr lang="en-US"/>
        </a:p>
      </dgm:t>
    </dgm:pt>
    <dgm:pt modelId="{08C45D4B-80BC-46E0-9DBE-9796462FA4FE}" type="sibTrans" cxnId="{99E725FA-BA8B-49A6-831D-648C7183240F}">
      <dgm:prSet/>
      <dgm:spPr/>
      <dgm:t>
        <a:bodyPr/>
        <a:lstStyle/>
        <a:p>
          <a:endParaRPr lang="en-US"/>
        </a:p>
      </dgm:t>
    </dgm:pt>
    <dgm:pt modelId="{ADAD80FB-A96F-4D1C-82A8-67886D3CF038}">
      <dgm:prSet phldrT="[Text]" phldr="1"/>
      <dgm:spPr>
        <a:solidFill>
          <a:schemeClr val="bg1">
            <a:lumMod val="75000"/>
          </a:schemeClr>
        </a:solidFill>
      </dgm:spPr>
      <dgm:t>
        <a:bodyPr/>
        <a:lstStyle/>
        <a:p>
          <a:endParaRPr lang="en-US" dirty="0">
            <a:solidFill>
              <a:schemeClr val="bg1">
                <a:lumMod val="75000"/>
              </a:schemeClr>
            </a:solidFill>
          </a:endParaRPr>
        </a:p>
      </dgm:t>
    </dgm:pt>
    <dgm:pt modelId="{B5E327B7-D508-4BE9-A0DD-E32CD0165489}" type="parTrans" cxnId="{24F826C0-EDD0-4E4A-A3B4-5344D7F4FDA2}">
      <dgm:prSet/>
      <dgm:spPr>
        <a:ln>
          <a:solidFill>
            <a:schemeClr val="bg1"/>
          </a:solidFill>
        </a:ln>
      </dgm:spPr>
      <dgm:t>
        <a:bodyPr/>
        <a:lstStyle/>
        <a:p>
          <a:endParaRPr lang="en-US"/>
        </a:p>
      </dgm:t>
    </dgm:pt>
    <dgm:pt modelId="{2C241AD4-C608-4D86-A7C0-348887860949}" type="sibTrans" cxnId="{24F826C0-EDD0-4E4A-A3B4-5344D7F4FDA2}">
      <dgm:prSet/>
      <dgm:spPr/>
      <dgm:t>
        <a:bodyPr/>
        <a:lstStyle/>
        <a:p>
          <a:endParaRPr lang="en-US"/>
        </a:p>
      </dgm:t>
    </dgm:pt>
    <dgm:pt modelId="{4AD880C2-B9A8-4B0B-AFAD-0320E20EE1A7}">
      <dgm:prSet phldrT="[Text]" phldr="1"/>
      <dgm:spPr>
        <a:solidFill>
          <a:schemeClr val="bg1">
            <a:lumMod val="75000"/>
          </a:schemeClr>
        </a:solidFill>
      </dgm:spPr>
      <dgm:t>
        <a:bodyPr/>
        <a:lstStyle/>
        <a:p>
          <a:endParaRPr lang="en-US" dirty="0">
            <a:solidFill>
              <a:schemeClr val="bg1">
                <a:lumMod val="75000"/>
              </a:schemeClr>
            </a:solidFill>
          </a:endParaRPr>
        </a:p>
      </dgm:t>
    </dgm:pt>
    <dgm:pt modelId="{6AB071D2-EEFF-4DA2-AFD5-4BB481E355B0}" type="parTrans" cxnId="{7A25F391-4E5D-4583-893F-57B029A1B2F9}">
      <dgm:prSet/>
      <dgm:spPr/>
      <dgm:t>
        <a:bodyPr/>
        <a:lstStyle/>
        <a:p>
          <a:endParaRPr lang="en-US"/>
        </a:p>
      </dgm:t>
    </dgm:pt>
    <dgm:pt modelId="{FA762935-1829-4263-B965-671F157FF0A9}" type="sibTrans" cxnId="{7A25F391-4E5D-4583-893F-57B029A1B2F9}">
      <dgm:prSet/>
      <dgm:spPr/>
      <dgm:t>
        <a:bodyPr/>
        <a:lstStyle/>
        <a:p>
          <a:endParaRPr lang="en-US"/>
        </a:p>
      </dgm:t>
    </dgm:pt>
    <dgm:pt modelId="{330180EF-8144-4C33-B487-F38BFB0A1C20}">
      <dgm:prSet phldrT="[Text]" phldr="1"/>
      <dgm:spPr>
        <a:solidFill>
          <a:schemeClr val="bg1">
            <a:lumMod val="75000"/>
          </a:schemeClr>
        </a:solidFill>
      </dgm:spPr>
      <dgm:t>
        <a:bodyPr/>
        <a:lstStyle/>
        <a:p>
          <a:endParaRPr lang="en-US" dirty="0">
            <a:solidFill>
              <a:schemeClr val="bg1">
                <a:lumMod val="75000"/>
              </a:schemeClr>
            </a:solidFill>
          </a:endParaRPr>
        </a:p>
      </dgm:t>
    </dgm:pt>
    <dgm:pt modelId="{0DFB3F4B-E313-49EF-9AC2-29FADBFC6365}" type="parTrans" cxnId="{A3645039-ED85-43E8-8859-DEAC5DCF2A03}">
      <dgm:prSet/>
      <dgm:spPr>
        <a:ln>
          <a:solidFill>
            <a:schemeClr val="bg1"/>
          </a:solidFill>
        </a:ln>
      </dgm:spPr>
      <dgm:t>
        <a:bodyPr/>
        <a:lstStyle/>
        <a:p>
          <a:endParaRPr lang="en-US"/>
        </a:p>
      </dgm:t>
    </dgm:pt>
    <dgm:pt modelId="{6798623E-8064-4BED-8652-29932255EB9B}" type="sibTrans" cxnId="{A3645039-ED85-43E8-8859-DEAC5DCF2A03}">
      <dgm:prSet/>
      <dgm:spPr/>
      <dgm:t>
        <a:bodyPr/>
        <a:lstStyle/>
        <a:p>
          <a:endParaRPr lang="en-US"/>
        </a:p>
      </dgm:t>
    </dgm:pt>
    <dgm:pt modelId="{775216D1-1FFF-4E4A-A842-2675F899B02F}">
      <dgm:prSet phldrT="[Text]" custT="1"/>
      <dgm:spPr>
        <a:solidFill>
          <a:srgbClr val="33CCCC"/>
        </a:solidFill>
        <a:effectLst>
          <a:outerShdw blurRad="76200" dir="13500000" sy="23000" kx="1200000" algn="br" rotWithShape="0">
            <a:prstClr val="black">
              <a:alpha val="20000"/>
            </a:prstClr>
          </a:outerShdw>
        </a:effectLst>
      </dgm:spPr>
      <dgm:t>
        <a:bodyPr/>
        <a:lstStyle/>
        <a:p>
          <a:r>
            <a:rPr lang="en-US" sz="3200" b="1" dirty="0">
              <a:solidFill>
                <a:schemeClr val="bg1"/>
              </a:solidFill>
            </a:rPr>
            <a:t>Your Manager</a:t>
          </a:r>
        </a:p>
      </dgm:t>
    </dgm:pt>
    <dgm:pt modelId="{48B08855-F728-4483-85C1-680892AACD4E}" type="parTrans" cxnId="{943B9D92-FAF5-4B5B-AA5C-445E7B65AF10}">
      <dgm:prSet/>
      <dgm:spPr/>
      <dgm:t>
        <a:bodyPr/>
        <a:lstStyle/>
        <a:p>
          <a:endParaRPr lang="en-US"/>
        </a:p>
      </dgm:t>
    </dgm:pt>
    <dgm:pt modelId="{9E3472AC-805A-4510-8222-9A3901539D2E}" type="sibTrans" cxnId="{943B9D92-FAF5-4B5B-AA5C-445E7B65AF10}">
      <dgm:prSet/>
      <dgm:spPr/>
      <dgm:t>
        <a:bodyPr/>
        <a:lstStyle/>
        <a:p>
          <a:endParaRPr lang="en-US"/>
        </a:p>
      </dgm:t>
    </dgm:pt>
    <dgm:pt modelId="{5DC38E05-E2DE-426D-819A-D87773D74234}">
      <dgm:prSet phldrT="[Text]"/>
      <dgm:spPr>
        <a:solidFill>
          <a:srgbClr val="92D050"/>
        </a:solidFill>
        <a:ln>
          <a:solidFill>
            <a:schemeClr val="bg1"/>
          </a:solidFill>
        </a:ln>
        <a:effectLst>
          <a:outerShdw blurRad="76200" dir="13500000" sy="23000" kx="1200000" algn="br" rotWithShape="0">
            <a:prstClr val="black">
              <a:alpha val="20000"/>
            </a:prstClr>
          </a:outerShdw>
        </a:effectLst>
      </dgm:spPr>
      <dgm:t>
        <a:bodyPr/>
        <a:lstStyle/>
        <a:p>
          <a:r>
            <a:rPr lang="en-US" b="1" dirty="0">
              <a:solidFill>
                <a:schemeClr val="bg1"/>
              </a:solidFill>
            </a:rPr>
            <a:t>Others</a:t>
          </a:r>
        </a:p>
      </dgm:t>
    </dgm:pt>
    <dgm:pt modelId="{28F32A50-97AE-42D2-958B-81C89A4CD181}" type="parTrans" cxnId="{860E41C5-1014-4219-972C-6CE63CD4AA9B}">
      <dgm:prSet/>
      <dgm:spPr/>
      <dgm:t>
        <a:bodyPr/>
        <a:lstStyle/>
        <a:p>
          <a:endParaRPr lang="en-US"/>
        </a:p>
      </dgm:t>
    </dgm:pt>
    <dgm:pt modelId="{16E3A76C-6C62-49E5-BCA6-B75A564F2F75}" type="sibTrans" cxnId="{860E41C5-1014-4219-972C-6CE63CD4AA9B}">
      <dgm:prSet/>
      <dgm:spPr/>
      <dgm:t>
        <a:bodyPr/>
        <a:lstStyle/>
        <a:p>
          <a:endParaRPr lang="en-US"/>
        </a:p>
      </dgm:t>
    </dgm:pt>
    <dgm:pt modelId="{32FC6B7A-1C08-4DD4-BD18-D5117725D199}">
      <dgm:prSet phldrT="[Text]"/>
      <dgm:spPr>
        <a:solidFill>
          <a:schemeClr val="bg1">
            <a:lumMod val="75000"/>
          </a:schemeClr>
        </a:solidFill>
      </dgm:spPr>
      <dgm:t>
        <a:bodyPr/>
        <a:lstStyle/>
        <a:p>
          <a:endParaRPr lang="en-US" dirty="0"/>
        </a:p>
      </dgm:t>
    </dgm:pt>
    <dgm:pt modelId="{C85F30E1-63B7-426E-94EF-66FA5DD6655A}" type="parTrans" cxnId="{6D7DC8F3-C9B3-42CF-8ECC-0757E73B34DC}">
      <dgm:prSet/>
      <dgm:spPr>
        <a:ln>
          <a:solidFill>
            <a:schemeClr val="bg1"/>
          </a:solidFill>
        </a:ln>
      </dgm:spPr>
      <dgm:t>
        <a:bodyPr/>
        <a:lstStyle/>
        <a:p>
          <a:endParaRPr lang="en-US"/>
        </a:p>
      </dgm:t>
    </dgm:pt>
    <dgm:pt modelId="{7BA1BBDD-8C85-455C-8F6A-8CECA4A35159}" type="sibTrans" cxnId="{6D7DC8F3-C9B3-42CF-8ECC-0757E73B34DC}">
      <dgm:prSet/>
      <dgm:spPr/>
      <dgm:t>
        <a:bodyPr/>
        <a:lstStyle/>
        <a:p>
          <a:endParaRPr lang="en-US"/>
        </a:p>
      </dgm:t>
    </dgm:pt>
    <dgm:pt modelId="{1E60154E-2D5A-4CF7-8659-5BFDDC81FBB5}">
      <dgm:prSet phldrT="[Text]"/>
      <dgm:spPr>
        <a:solidFill>
          <a:schemeClr val="bg1">
            <a:lumMod val="75000"/>
          </a:schemeClr>
        </a:solidFill>
      </dgm:spPr>
      <dgm:t>
        <a:bodyPr/>
        <a:lstStyle/>
        <a:p>
          <a:endParaRPr lang="en-US" dirty="0"/>
        </a:p>
      </dgm:t>
    </dgm:pt>
    <dgm:pt modelId="{DEBAF3EE-B239-486B-A34D-40871CB52EFE}" type="parTrans" cxnId="{274322A1-4430-4BE6-BC76-0CCB101404AD}">
      <dgm:prSet/>
      <dgm:spPr>
        <a:ln>
          <a:solidFill>
            <a:schemeClr val="bg1"/>
          </a:solidFill>
        </a:ln>
      </dgm:spPr>
      <dgm:t>
        <a:bodyPr/>
        <a:lstStyle/>
        <a:p>
          <a:endParaRPr lang="en-US"/>
        </a:p>
      </dgm:t>
    </dgm:pt>
    <dgm:pt modelId="{73DA71DF-9A4A-4835-917B-42A741005BF0}" type="sibTrans" cxnId="{274322A1-4430-4BE6-BC76-0CCB101404AD}">
      <dgm:prSet/>
      <dgm:spPr/>
      <dgm:t>
        <a:bodyPr/>
        <a:lstStyle/>
        <a:p>
          <a:endParaRPr lang="en-US"/>
        </a:p>
      </dgm:t>
    </dgm:pt>
    <dgm:pt modelId="{28975F10-5FB2-4FFF-84FC-D4B1D1E60598}">
      <dgm:prSet phldrT="[Text]"/>
      <dgm:spPr>
        <a:solidFill>
          <a:schemeClr val="bg1">
            <a:lumMod val="75000"/>
          </a:schemeClr>
        </a:solidFill>
      </dgm:spPr>
      <dgm:t>
        <a:bodyPr/>
        <a:lstStyle/>
        <a:p>
          <a:endParaRPr lang="en-US" dirty="0"/>
        </a:p>
      </dgm:t>
    </dgm:pt>
    <dgm:pt modelId="{8EC84C35-CBC1-41B7-A046-145358D35EFA}" type="parTrans" cxnId="{4ED31C5E-1F46-496D-88E3-A8383BD27625}">
      <dgm:prSet/>
      <dgm:spPr/>
      <dgm:t>
        <a:bodyPr/>
        <a:lstStyle/>
        <a:p>
          <a:endParaRPr lang="en-US"/>
        </a:p>
      </dgm:t>
    </dgm:pt>
    <dgm:pt modelId="{FB7AA234-BE4E-4C3B-8AA5-FF44502398D9}" type="sibTrans" cxnId="{4ED31C5E-1F46-496D-88E3-A8383BD27625}">
      <dgm:prSet/>
      <dgm:spPr/>
      <dgm:t>
        <a:bodyPr/>
        <a:lstStyle/>
        <a:p>
          <a:endParaRPr lang="en-US"/>
        </a:p>
      </dgm:t>
    </dgm:pt>
    <dgm:pt modelId="{A0D05C7C-215A-4A4F-89FE-ADC58DC4D2B6}">
      <dgm:prSet/>
      <dgm:spPr>
        <a:solidFill>
          <a:schemeClr val="bg1">
            <a:lumMod val="75000"/>
          </a:schemeClr>
        </a:solidFill>
      </dgm:spPr>
      <dgm:t>
        <a:bodyPr/>
        <a:lstStyle/>
        <a:p>
          <a:endParaRPr lang="en-US"/>
        </a:p>
      </dgm:t>
    </dgm:pt>
    <dgm:pt modelId="{A2E97256-F515-4B32-A735-5C6006508A81}" type="parTrans" cxnId="{10B8D8BA-FF43-4626-9C4B-AD52523C7BEF}">
      <dgm:prSet/>
      <dgm:spPr>
        <a:ln>
          <a:solidFill>
            <a:schemeClr val="bg1"/>
          </a:solidFill>
        </a:ln>
      </dgm:spPr>
      <dgm:t>
        <a:bodyPr/>
        <a:lstStyle/>
        <a:p>
          <a:endParaRPr lang="en-US"/>
        </a:p>
      </dgm:t>
    </dgm:pt>
    <dgm:pt modelId="{F721AE55-1988-43D2-90CF-ADAD8245087F}" type="sibTrans" cxnId="{10B8D8BA-FF43-4626-9C4B-AD52523C7BEF}">
      <dgm:prSet/>
      <dgm:spPr/>
      <dgm:t>
        <a:bodyPr/>
        <a:lstStyle/>
        <a:p>
          <a:endParaRPr lang="en-US"/>
        </a:p>
      </dgm:t>
    </dgm:pt>
    <dgm:pt modelId="{AACDF00E-B4E5-42B3-B8B8-29E94DFB8118}">
      <dgm:prSet/>
      <dgm:spPr>
        <a:solidFill>
          <a:schemeClr val="bg1">
            <a:lumMod val="75000"/>
          </a:schemeClr>
        </a:solidFill>
      </dgm:spPr>
      <dgm:t>
        <a:bodyPr/>
        <a:lstStyle/>
        <a:p>
          <a:endParaRPr lang="en-US"/>
        </a:p>
      </dgm:t>
    </dgm:pt>
    <dgm:pt modelId="{63A7ABD2-1ED5-4252-A23B-5F870F5F08DD}" type="parTrans" cxnId="{E2379AE3-C2ED-47D5-A41F-19DACCA04BBC}">
      <dgm:prSet/>
      <dgm:spPr>
        <a:ln>
          <a:solidFill>
            <a:schemeClr val="bg1"/>
          </a:solidFill>
        </a:ln>
      </dgm:spPr>
      <dgm:t>
        <a:bodyPr/>
        <a:lstStyle/>
        <a:p>
          <a:endParaRPr lang="en-US"/>
        </a:p>
      </dgm:t>
    </dgm:pt>
    <dgm:pt modelId="{404869FB-ABD8-4745-9DCC-988F18DE4ECA}" type="sibTrans" cxnId="{E2379AE3-C2ED-47D5-A41F-19DACCA04BBC}">
      <dgm:prSet/>
      <dgm:spPr/>
      <dgm:t>
        <a:bodyPr/>
        <a:lstStyle/>
        <a:p>
          <a:endParaRPr lang="en-US"/>
        </a:p>
      </dgm:t>
    </dgm:pt>
    <dgm:pt modelId="{8DADA950-EC46-45BB-A8CF-95AD40D99561}">
      <dgm:prSet/>
      <dgm:spPr>
        <a:solidFill>
          <a:schemeClr val="bg1">
            <a:lumMod val="75000"/>
          </a:schemeClr>
        </a:solidFill>
      </dgm:spPr>
      <dgm:t>
        <a:bodyPr/>
        <a:lstStyle/>
        <a:p>
          <a:endParaRPr lang="en-US"/>
        </a:p>
      </dgm:t>
    </dgm:pt>
    <dgm:pt modelId="{C6D1E41C-F5D8-446F-BA19-CFF2C55BEDAC}" type="parTrans" cxnId="{CE4467C2-0A46-4533-B866-264E3C570202}">
      <dgm:prSet/>
      <dgm:spPr>
        <a:ln>
          <a:solidFill>
            <a:schemeClr val="bg1"/>
          </a:solidFill>
        </a:ln>
      </dgm:spPr>
      <dgm:t>
        <a:bodyPr/>
        <a:lstStyle/>
        <a:p>
          <a:endParaRPr lang="en-US"/>
        </a:p>
      </dgm:t>
    </dgm:pt>
    <dgm:pt modelId="{C15EC2A2-64AD-41A3-9431-AD99BA92C0A6}" type="sibTrans" cxnId="{CE4467C2-0A46-4533-B866-264E3C570202}">
      <dgm:prSet/>
      <dgm:spPr/>
      <dgm:t>
        <a:bodyPr/>
        <a:lstStyle/>
        <a:p>
          <a:endParaRPr lang="en-US"/>
        </a:p>
      </dgm:t>
    </dgm:pt>
    <dgm:pt modelId="{924C3E04-4048-449A-BD22-73391AEA3F86}">
      <dgm:prSet/>
      <dgm:spPr>
        <a:solidFill>
          <a:schemeClr val="bg1">
            <a:lumMod val="75000"/>
          </a:schemeClr>
        </a:solidFill>
      </dgm:spPr>
      <dgm:t>
        <a:bodyPr/>
        <a:lstStyle/>
        <a:p>
          <a:endParaRPr lang="en-US"/>
        </a:p>
      </dgm:t>
    </dgm:pt>
    <dgm:pt modelId="{0FEB750B-CB0B-4507-BBBE-79E7E6BED819}" type="parTrans" cxnId="{53500CF4-0AB0-4E30-AA28-2D515DC9BB6B}">
      <dgm:prSet/>
      <dgm:spPr/>
      <dgm:t>
        <a:bodyPr/>
        <a:lstStyle/>
        <a:p>
          <a:endParaRPr lang="en-US"/>
        </a:p>
      </dgm:t>
    </dgm:pt>
    <dgm:pt modelId="{22BA2ED5-4DAA-44E8-B6D6-E5AD5972BA25}" type="sibTrans" cxnId="{53500CF4-0AB0-4E30-AA28-2D515DC9BB6B}">
      <dgm:prSet/>
      <dgm:spPr/>
      <dgm:t>
        <a:bodyPr/>
        <a:lstStyle/>
        <a:p>
          <a:endParaRPr lang="en-US"/>
        </a:p>
      </dgm:t>
    </dgm:pt>
    <dgm:pt modelId="{8D6AE135-7DC5-4395-A6E4-29F3CA947789}">
      <dgm:prSet/>
      <dgm:spPr>
        <a:solidFill>
          <a:schemeClr val="bg1">
            <a:lumMod val="75000"/>
          </a:schemeClr>
        </a:solidFill>
      </dgm:spPr>
      <dgm:t>
        <a:bodyPr/>
        <a:lstStyle/>
        <a:p>
          <a:endParaRPr lang="en-US" dirty="0"/>
        </a:p>
        <a:p>
          <a:endParaRPr lang="en-US" dirty="0"/>
        </a:p>
      </dgm:t>
    </dgm:pt>
    <dgm:pt modelId="{0C8CB1FD-17CE-429D-BD81-310A6CA6AD75}" type="parTrans" cxnId="{00D511FD-C70F-4F9E-96D5-3D607C2EA374}">
      <dgm:prSet/>
      <dgm:spPr>
        <a:ln>
          <a:solidFill>
            <a:schemeClr val="bg1"/>
          </a:solidFill>
        </a:ln>
      </dgm:spPr>
      <dgm:t>
        <a:bodyPr/>
        <a:lstStyle/>
        <a:p>
          <a:endParaRPr lang="en-US"/>
        </a:p>
      </dgm:t>
    </dgm:pt>
    <dgm:pt modelId="{084AAF75-E581-4A26-8179-5FC22659AEDC}" type="sibTrans" cxnId="{00D511FD-C70F-4F9E-96D5-3D607C2EA374}">
      <dgm:prSet/>
      <dgm:spPr/>
      <dgm:t>
        <a:bodyPr/>
        <a:lstStyle/>
        <a:p>
          <a:endParaRPr lang="en-US"/>
        </a:p>
      </dgm:t>
    </dgm:pt>
    <dgm:pt modelId="{ED912239-B53B-4008-9260-3955A881FC2A}">
      <dgm:prSet/>
      <dgm:spPr>
        <a:solidFill>
          <a:schemeClr val="bg1">
            <a:lumMod val="75000"/>
          </a:schemeClr>
        </a:solidFill>
      </dgm:spPr>
      <dgm:t>
        <a:bodyPr/>
        <a:lstStyle/>
        <a:p>
          <a:endParaRPr lang="en-US"/>
        </a:p>
      </dgm:t>
    </dgm:pt>
    <dgm:pt modelId="{88CD46BD-F712-42A8-B55E-1EEE8C7311BD}" type="parTrans" cxnId="{F797F9CD-3B95-4954-8A2C-75616BCF72B4}">
      <dgm:prSet/>
      <dgm:spPr>
        <a:ln>
          <a:solidFill>
            <a:schemeClr val="bg1"/>
          </a:solidFill>
        </a:ln>
      </dgm:spPr>
      <dgm:t>
        <a:bodyPr/>
        <a:lstStyle/>
        <a:p>
          <a:endParaRPr lang="en-US"/>
        </a:p>
      </dgm:t>
    </dgm:pt>
    <dgm:pt modelId="{BB247ABD-D5F7-4EF1-8460-095905C6DCBE}" type="sibTrans" cxnId="{F797F9CD-3B95-4954-8A2C-75616BCF72B4}">
      <dgm:prSet/>
      <dgm:spPr/>
      <dgm:t>
        <a:bodyPr/>
        <a:lstStyle/>
        <a:p>
          <a:endParaRPr lang="en-US"/>
        </a:p>
      </dgm:t>
    </dgm:pt>
    <dgm:pt modelId="{90D01477-9C59-4A9F-960B-4BC90EEC7FEC}">
      <dgm:prSet/>
      <dgm:spPr>
        <a:solidFill>
          <a:schemeClr val="bg1">
            <a:lumMod val="75000"/>
          </a:schemeClr>
        </a:solidFill>
      </dgm:spPr>
      <dgm:t>
        <a:bodyPr/>
        <a:lstStyle/>
        <a:p>
          <a:endParaRPr lang="en-US"/>
        </a:p>
      </dgm:t>
    </dgm:pt>
    <dgm:pt modelId="{8F9EB798-50F5-48D6-B950-67DB8D2C79B7}" type="parTrans" cxnId="{E9CF8B23-D84B-490F-BAAB-0DCD0B26257F}">
      <dgm:prSet/>
      <dgm:spPr/>
      <dgm:t>
        <a:bodyPr/>
        <a:lstStyle/>
        <a:p>
          <a:endParaRPr lang="en-US"/>
        </a:p>
      </dgm:t>
    </dgm:pt>
    <dgm:pt modelId="{91F8361B-569F-4B59-8188-F5C6758DBDAA}" type="sibTrans" cxnId="{E9CF8B23-D84B-490F-BAAB-0DCD0B26257F}">
      <dgm:prSet/>
      <dgm:spPr/>
      <dgm:t>
        <a:bodyPr/>
        <a:lstStyle/>
        <a:p>
          <a:endParaRPr lang="en-US"/>
        </a:p>
      </dgm:t>
    </dgm:pt>
    <dgm:pt modelId="{76DD6C57-6E3C-43F4-919D-9DD2C09B54E4}">
      <dgm:prSet/>
      <dgm:spPr>
        <a:solidFill>
          <a:schemeClr val="bg1">
            <a:lumMod val="75000"/>
          </a:schemeClr>
        </a:solidFill>
      </dgm:spPr>
      <dgm:t>
        <a:bodyPr/>
        <a:lstStyle/>
        <a:p>
          <a:endParaRPr lang="en-US"/>
        </a:p>
      </dgm:t>
    </dgm:pt>
    <dgm:pt modelId="{311E66B7-9E1D-44E6-B8E5-D302A677B39D}" type="parTrans" cxnId="{3BFB6C02-FB07-4CF1-8E8E-F89A1FAD049C}">
      <dgm:prSet/>
      <dgm:spPr>
        <a:solidFill>
          <a:schemeClr val="bg1"/>
        </a:solidFill>
        <a:ln>
          <a:solidFill>
            <a:schemeClr val="bg1"/>
          </a:solidFill>
        </a:ln>
      </dgm:spPr>
      <dgm:t>
        <a:bodyPr/>
        <a:lstStyle/>
        <a:p>
          <a:endParaRPr lang="en-US"/>
        </a:p>
      </dgm:t>
    </dgm:pt>
    <dgm:pt modelId="{20410E07-940B-49F4-90A0-82C78E94A434}" type="sibTrans" cxnId="{3BFB6C02-FB07-4CF1-8E8E-F89A1FAD049C}">
      <dgm:prSet/>
      <dgm:spPr/>
      <dgm:t>
        <a:bodyPr/>
        <a:lstStyle/>
        <a:p>
          <a:endParaRPr lang="en-US"/>
        </a:p>
      </dgm:t>
    </dgm:pt>
    <dgm:pt modelId="{A123B4CB-73AE-4A5D-A96F-74B83F93E5E2}">
      <dgm:prSet/>
      <dgm:spPr>
        <a:solidFill>
          <a:schemeClr val="bg1">
            <a:lumMod val="75000"/>
          </a:schemeClr>
        </a:solidFill>
      </dgm:spPr>
      <dgm:t>
        <a:bodyPr/>
        <a:lstStyle/>
        <a:p>
          <a:endParaRPr lang="en-US" dirty="0"/>
        </a:p>
      </dgm:t>
    </dgm:pt>
    <dgm:pt modelId="{843D162A-C242-4538-B0EA-2F6A1B658352}" type="parTrans" cxnId="{0AB8E133-9C41-416E-8A31-1D0C9E783595}">
      <dgm:prSet/>
      <dgm:spPr>
        <a:ln>
          <a:solidFill>
            <a:schemeClr val="bg1"/>
          </a:solidFill>
        </a:ln>
      </dgm:spPr>
      <dgm:t>
        <a:bodyPr/>
        <a:lstStyle/>
        <a:p>
          <a:endParaRPr lang="en-US"/>
        </a:p>
      </dgm:t>
    </dgm:pt>
    <dgm:pt modelId="{A2CDA91B-C553-453A-8F25-DE0DF7689C59}" type="sibTrans" cxnId="{0AB8E133-9C41-416E-8A31-1D0C9E783595}">
      <dgm:prSet/>
      <dgm:spPr/>
      <dgm:t>
        <a:bodyPr/>
        <a:lstStyle/>
        <a:p>
          <a:endParaRPr lang="en-US"/>
        </a:p>
      </dgm:t>
    </dgm:pt>
    <dgm:pt modelId="{39A17D33-A3CC-483D-AB6A-26869FBCEA5F}">
      <dgm:prSet/>
      <dgm:spPr>
        <a:solidFill>
          <a:schemeClr val="bg1">
            <a:lumMod val="75000"/>
          </a:schemeClr>
        </a:solidFill>
      </dgm:spPr>
      <dgm:t>
        <a:bodyPr/>
        <a:lstStyle/>
        <a:p>
          <a:endParaRPr lang="en-US"/>
        </a:p>
      </dgm:t>
    </dgm:pt>
    <dgm:pt modelId="{91033EEB-239E-40A6-9D1C-0FB4642C9E91}" type="parTrans" cxnId="{3EE394A7-E2BA-4F59-AA52-8F8AF1C03B8E}">
      <dgm:prSet/>
      <dgm:spPr>
        <a:ln>
          <a:solidFill>
            <a:schemeClr val="bg1"/>
          </a:solidFill>
        </a:ln>
      </dgm:spPr>
      <dgm:t>
        <a:bodyPr/>
        <a:lstStyle/>
        <a:p>
          <a:endParaRPr lang="en-US"/>
        </a:p>
      </dgm:t>
    </dgm:pt>
    <dgm:pt modelId="{D43EEEBF-EB6B-465A-BD0B-201CBF7D7BED}" type="sibTrans" cxnId="{3EE394A7-E2BA-4F59-AA52-8F8AF1C03B8E}">
      <dgm:prSet/>
      <dgm:spPr/>
      <dgm:t>
        <a:bodyPr/>
        <a:lstStyle/>
        <a:p>
          <a:endParaRPr lang="en-US"/>
        </a:p>
      </dgm:t>
    </dgm:pt>
    <dgm:pt modelId="{FB9A90B7-35CF-4607-9755-820B6F5C6915}">
      <dgm:prSet/>
      <dgm:spPr>
        <a:solidFill>
          <a:schemeClr val="bg1">
            <a:lumMod val="75000"/>
          </a:schemeClr>
        </a:solidFill>
      </dgm:spPr>
      <dgm:t>
        <a:bodyPr/>
        <a:lstStyle/>
        <a:p>
          <a:endParaRPr lang="en-US"/>
        </a:p>
      </dgm:t>
    </dgm:pt>
    <dgm:pt modelId="{C595A4F7-E038-440C-B148-A22701255FED}" type="parTrans" cxnId="{83AC3B8F-683C-413D-AB99-446C0D17C28A}">
      <dgm:prSet/>
      <dgm:spPr>
        <a:ln>
          <a:solidFill>
            <a:schemeClr val="tx2"/>
          </a:solidFill>
        </a:ln>
      </dgm:spPr>
      <dgm:t>
        <a:bodyPr/>
        <a:lstStyle/>
        <a:p>
          <a:endParaRPr lang="en-US"/>
        </a:p>
      </dgm:t>
    </dgm:pt>
    <dgm:pt modelId="{3F48F837-F57E-44DB-9481-E7AD849C8362}" type="sibTrans" cxnId="{83AC3B8F-683C-413D-AB99-446C0D17C28A}">
      <dgm:prSet/>
      <dgm:spPr/>
      <dgm:t>
        <a:bodyPr/>
        <a:lstStyle/>
        <a:p>
          <a:endParaRPr lang="en-US"/>
        </a:p>
      </dgm:t>
    </dgm:pt>
    <dgm:pt modelId="{D1F361EE-732B-42CE-A1C7-58688DFC54A3}">
      <dgm:prSet/>
      <dgm:spPr>
        <a:solidFill>
          <a:schemeClr val="bg1">
            <a:lumMod val="75000"/>
          </a:schemeClr>
        </a:solidFill>
      </dgm:spPr>
      <dgm:t>
        <a:bodyPr/>
        <a:lstStyle/>
        <a:p>
          <a:endParaRPr lang="en-US" dirty="0"/>
        </a:p>
      </dgm:t>
    </dgm:pt>
    <dgm:pt modelId="{6971A019-E07D-4AF4-8B95-D17C12F72D7C}" type="parTrans" cxnId="{BCC57898-5B3A-4DD2-B7A6-CA75F124CC98}">
      <dgm:prSet/>
      <dgm:spPr/>
      <dgm:t>
        <a:bodyPr/>
        <a:lstStyle/>
        <a:p>
          <a:endParaRPr lang="en-US"/>
        </a:p>
      </dgm:t>
    </dgm:pt>
    <dgm:pt modelId="{C663B42C-F63E-4028-94E9-ABE39DD2D398}" type="sibTrans" cxnId="{BCC57898-5B3A-4DD2-B7A6-CA75F124CC98}">
      <dgm:prSet/>
      <dgm:spPr/>
      <dgm:t>
        <a:bodyPr/>
        <a:lstStyle/>
        <a:p>
          <a:endParaRPr lang="en-US"/>
        </a:p>
      </dgm:t>
    </dgm:pt>
    <dgm:pt modelId="{BD2EEC77-DE7D-4CA6-9280-0184BF505BD2}" type="pres">
      <dgm:prSet presAssocID="{2CF2201B-9128-4080-993D-FBFD4DEDDE22}" presName="mainComposite" presStyleCnt="0">
        <dgm:presLayoutVars>
          <dgm:chPref val="1"/>
          <dgm:dir/>
          <dgm:animOne val="branch"/>
          <dgm:animLvl val="lvl"/>
          <dgm:resizeHandles val="exact"/>
        </dgm:presLayoutVars>
      </dgm:prSet>
      <dgm:spPr/>
    </dgm:pt>
    <dgm:pt modelId="{BF5C1AD7-2C21-46CC-9B0E-C7BD3FC564D8}" type="pres">
      <dgm:prSet presAssocID="{2CF2201B-9128-4080-993D-FBFD4DEDDE22}" presName="hierFlow" presStyleCnt="0"/>
      <dgm:spPr/>
    </dgm:pt>
    <dgm:pt modelId="{80FE9C4D-F95B-486D-9B7C-DB12B7FF7B22}" type="pres">
      <dgm:prSet presAssocID="{2CF2201B-9128-4080-993D-FBFD4DEDDE22}" presName="firstBuf" presStyleCnt="0"/>
      <dgm:spPr/>
    </dgm:pt>
    <dgm:pt modelId="{9285A0D7-6BEB-459D-A3B2-DE71B66904F1}" type="pres">
      <dgm:prSet presAssocID="{2CF2201B-9128-4080-993D-FBFD4DEDDE22}" presName="hierChild1" presStyleCnt="0">
        <dgm:presLayoutVars>
          <dgm:chPref val="1"/>
          <dgm:animOne val="branch"/>
          <dgm:animLvl val="lvl"/>
        </dgm:presLayoutVars>
      </dgm:prSet>
      <dgm:spPr/>
    </dgm:pt>
    <dgm:pt modelId="{48943EE5-393B-40DA-A315-49E1439EC383}" type="pres">
      <dgm:prSet presAssocID="{B09E0A40-D6AF-4185-B540-28D7B5A1B4F0}" presName="Name14" presStyleCnt="0"/>
      <dgm:spPr/>
    </dgm:pt>
    <dgm:pt modelId="{127D3B33-719E-4D1D-9080-17A12111A0B0}" type="pres">
      <dgm:prSet presAssocID="{B09E0A40-D6AF-4185-B540-28D7B5A1B4F0}" presName="level1Shape" presStyleLbl="node0" presStyleIdx="0" presStyleCnt="1">
        <dgm:presLayoutVars>
          <dgm:chPref val="3"/>
        </dgm:presLayoutVars>
      </dgm:prSet>
      <dgm:spPr/>
    </dgm:pt>
    <dgm:pt modelId="{A3BCBE14-36B3-43D7-8D31-D5DA877440A9}" type="pres">
      <dgm:prSet presAssocID="{B09E0A40-D6AF-4185-B540-28D7B5A1B4F0}" presName="hierChild2" presStyleCnt="0"/>
      <dgm:spPr/>
    </dgm:pt>
    <dgm:pt modelId="{F6D9BAD0-C159-4B3F-B7D9-0E7997766A71}" type="pres">
      <dgm:prSet presAssocID="{E89E5B37-3E11-4287-88B2-1E495CA8AC75}" presName="Name19" presStyleLbl="parChTrans1D2" presStyleIdx="0" presStyleCnt="3"/>
      <dgm:spPr/>
    </dgm:pt>
    <dgm:pt modelId="{32DC9832-9A5F-45CD-B823-E6C081424223}" type="pres">
      <dgm:prSet presAssocID="{12B6E7F5-0909-4C20-8778-EA30F055358F}" presName="Name21" presStyleCnt="0"/>
      <dgm:spPr/>
    </dgm:pt>
    <dgm:pt modelId="{CC671C13-58C6-4A76-B11E-E6832B3109E2}" type="pres">
      <dgm:prSet presAssocID="{12B6E7F5-0909-4C20-8778-EA30F055358F}" presName="level2Shape" presStyleLbl="node2" presStyleIdx="0" presStyleCnt="3"/>
      <dgm:spPr/>
    </dgm:pt>
    <dgm:pt modelId="{AF877541-8CEE-4EA6-8949-6BE5CEF61B3F}" type="pres">
      <dgm:prSet presAssocID="{12B6E7F5-0909-4C20-8778-EA30F055358F}" presName="hierChild3" presStyleCnt="0"/>
      <dgm:spPr/>
    </dgm:pt>
    <dgm:pt modelId="{AB967EAA-DF23-45A5-9E22-79489EF07869}" type="pres">
      <dgm:prSet presAssocID="{B5E327B7-D508-4BE9-A0DD-E32CD0165489}" presName="Name19" presStyleLbl="parChTrans1D3" presStyleIdx="0" presStyleCnt="5"/>
      <dgm:spPr/>
    </dgm:pt>
    <dgm:pt modelId="{F7BED830-DAB0-4DE4-909A-C5BE88F8ABC8}" type="pres">
      <dgm:prSet presAssocID="{ADAD80FB-A96F-4D1C-82A8-67886D3CF038}" presName="Name21" presStyleCnt="0"/>
      <dgm:spPr/>
    </dgm:pt>
    <dgm:pt modelId="{1883F37A-67B2-43AA-A6BB-8B26883AD956}" type="pres">
      <dgm:prSet presAssocID="{ADAD80FB-A96F-4D1C-82A8-67886D3CF038}" presName="level2Shape" presStyleLbl="node3" presStyleIdx="0" presStyleCnt="5"/>
      <dgm:spPr/>
    </dgm:pt>
    <dgm:pt modelId="{1F4F8DEE-8067-4825-9B3D-246BE92200D2}" type="pres">
      <dgm:prSet presAssocID="{ADAD80FB-A96F-4D1C-82A8-67886D3CF038}" presName="hierChild3" presStyleCnt="0"/>
      <dgm:spPr/>
    </dgm:pt>
    <dgm:pt modelId="{16302290-C701-4DAB-B485-8240FB4ABACC}" type="pres">
      <dgm:prSet presAssocID="{DEBAF3EE-B239-486B-A34D-40871CB52EFE}" presName="Name19" presStyleLbl="parChTrans1D3" presStyleIdx="1" presStyleCnt="5"/>
      <dgm:spPr/>
    </dgm:pt>
    <dgm:pt modelId="{11F353A1-9C27-4224-B3F5-320A74FE6B46}" type="pres">
      <dgm:prSet presAssocID="{1E60154E-2D5A-4CF7-8659-5BFDDC81FBB5}" presName="Name21" presStyleCnt="0"/>
      <dgm:spPr/>
    </dgm:pt>
    <dgm:pt modelId="{E7D9F28C-72DC-4E52-8FB1-3E79BF90BD3D}" type="pres">
      <dgm:prSet presAssocID="{1E60154E-2D5A-4CF7-8659-5BFDDC81FBB5}" presName="level2Shape" presStyleLbl="node3" presStyleIdx="1" presStyleCnt="5"/>
      <dgm:spPr/>
    </dgm:pt>
    <dgm:pt modelId="{023B1C3B-22AD-4D6A-B14F-9F7C01A0C09A}" type="pres">
      <dgm:prSet presAssocID="{1E60154E-2D5A-4CF7-8659-5BFDDC81FBB5}" presName="hierChild3" presStyleCnt="0"/>
      <dgm:spPr/>
    </dgm:pt>
    <dgm:pt modelId="{250A0804-1C40-449F-A81A-A9ADC5BC7A61}" type="pres">
      <dgm:prSet presAssocID="{A2E97256-F515-4B32-A735-5C6006508A81}" presName="Name19" presStyleLbl="parChTrans1D4" presStyleIdx="0" presStyleCnt="11"/>
      <dgm:spPr/>
    </dgm:pt>
    <dgm:pt modelId="{07B0CA90-450F-42D3-A7AA-9501EF614002}" type="pres">
      <dgm:prSet presAssocID="{A0D05C7C-215A-4A4F-89FE-ADC58DC4D2B6}" presName="Name21" presStyleCnt="0"/>
      <dgm:spPr/>
    </dgm:pt>
    <dgm:pt modelId="{AA846796-AA5F-4B2F-9840-0925DB1FE69F}" type="pres">
      <dgm:prSet presAssocID="{A0D05C7C-215A-4A4F-89FE-ADC58DC4D2B6}" presName="level2Shape" presStyleLbl="node4" presStyleIdx="0" presStyleCnt="11"/>
      <dgm:spPr/>
    </dgm:pt>
    <dgm:pt modelId="{1C8ED8BA-8EEF-458C-90F0-4B7FBACF3276}" type="pres">
      <dgm:prSet presAssocID="{A0D05C7C-215A-4A4F-89FE-ADC58DC4D2B6}" presName="hierChild3" presStyleCnt="0"/>
      <dgm:spPr/>
    </dgm:pt>
    <dgm:pt modelId="{D3C68F7C-DF79-4163-8AF7-E33CE0BF20C4}" type="pres">
      <dgm:prSet presAssocID="{C6D1E41C-F5D8-446F-BA19-CFF2C55BEDAC}" presName="Name19" presStyleLbl="parChTrans1D4" presStyleIdx="1" presStyleCnt="11"/>
      <dgm:spPr/>
    </dgm:pt>
    <dgm:pt modelId="{CCF35D5B-0728-4CD7-AA3E-66EBBEAEEF70}" type="pres">
      <dgm:prSet presAssocID="{8DADA950-EC46-45BB-A8CF-95AD40D99561}" presName="Name21" presStyleCnt="0"/>
      <dgm:spPr/>
    </dgm:pt>
    <dgm:pt modelId="{6F1F32DA-F2C0-4D86-A2E4-34B807564B5E}" type="pres">
      <dgm:prSet presAssocID="{8DADA950-EC46-45BB-A8CF-95AD40D99561}" presName="level2Shape" presStyleLbl="node4" presStyleIdx="1" presStyleCnt="11"/>
      <dgm:spPr/>
    </dgm:pt>
    <dgm:pt modelId="{4F9655E4-326A-4E0C-9006-33479F555D34}" type="pres">
      <dgm:prSet presAssocID="{8DADA950-EC46-45BB-A8CF-95AD40D99561}" presName="hierChild3" presStyleCnt="0"/>
      <dgm:spPr/>
    </dgm:pt>
    <dgm:pt modelId="{BEEBD014-CFC8-46D3-B010-871D4607FCF0}" type="pres">
      <dgm:prSet presAssocID="{0FEB750B-CB0B-4507-BBBE-79E7E6BED819}" presName="Name19" presStyleLbl="parChTrans1D4" presStyleIdx="2" presStyleCnt="11"/>
      <dgm:spPr/>
    </dgm:pt>
    <dgm:pt modelId="{D6FA5204-3142-47A3-8C3A-C2E2DDF5B222}" type="pres">
      <dgm:prSet presAssocID="{924C3E04-4048-449A-BD22-73391AEA3F86}" presName="Name21" presStyleCnt="0"/>
      <dgm:spPr/>
    </dgm:pt>
    <dgm:pt modelId="{97C1621B-FFE7-4595-AF02-D305C7CE7479}" type="pres">
      <dgm:prSet presAssocID="{924C3E04-4048-449A-BD22-73391AEA3F86}" presName="level2Shape" presStyleLbl="node4" presStyleIdx="2" presStyleCnt="11"/>
      <dgm:spPr/>
    </dgm:pt>
    <dgm:pt modelId="{CBABE683-3241-45F6-9583-0F8A92D6F168}" type="pres">
      <dgm:prSet presAssocID="{924C3E04-4048-449A-BD22-73391AEA3F86}" presName="hierChild3" presStyleCnt="0"/>
      <dgm:spPr/>
    </dgm:pt>
    <dgm:pt modelId="{94782508-8EE4-44B3-9499-2ADABCA82DA2}" type="pres">
      <dgm:prSet presAssocID="{0C8CB1FD-17CE-429D-BD81-310A6CA6AD75}" presName="Name19" presStyleLbl="parChTrans1D4" presStyleIdx="3" presStyleCnt="11"/>
      <dgm:spPr/>
    </dgm:pt>
    <dgm:pt modelId="{204C0481-922E-4EA9-A834-18A6D64F552D}" type="pres">
      <dgm:prSet presAssocID="{8D6AE135-7DC5-4395-A6E4-29F3CA947789}" presName="Name21" presStyleCnt="0"/>
      <dgm:spPr/>
    </dgm:pt>
    <dgm:pt modelId="{C7A741EB-9991-4FA7-BDEE-F85AB7E44177}" type="pres">
      <dgm:prSet presAssocID="{8D6AE135-7DC5-4395-A6E4-29F3CA947789}" presName="level2Shape" presStyleLbl="node4" presStyleIdx="3" presStyleCnt="11"/>
      <dgm:spPr/>
    </dgm:pt>
    <dgm:pt modelId="{0805C69A-67E8-46EC-8C99-DB80D6F7F382}" type="pres">
      <dgm:prSet presAssocID="{8D6AE135-7DC5-4395-A6E4-29F3CA947789}" presName="hierChild3" presStyleCnt="0"/>
      <dgm:spPr/>
    </dgm:pt>
    <dgm:pt modelId="{AB0202CE-5EC8-48BC-A497-623197E4857D}" type="pres">
      <dgm:prSet presAssocID="{8F9EB798-50F5-48D6-B950-67DB8D2C79B7}" presName="Name19" presStyleLbl="parChTrans1D4" presStyleIdx="4" presStyleCnt="11"/>
      <dgm:spPr/>
    </dgm:pt>
    <dgm:pt modelId="{A2037211-3ED2-4169-99E0-B747919A016D}" type="pres">
      <dgm:prSet presAssocID="{90D01477-9C59-4A9F-960B-4BC90EEC7FEC}" presName="Name21" presStyleCnt="0"/>
      <dgm:spPr/>
    </dgm:pt>
    <dgm:pt modelId="{926AF119-23A1-4014-8659-50DA4304A5B8}" type="pres">
      <dgm:prSet presAssocID="{90D01477-9C59-4A9F-960B-4BC90EEC7FEC}" presName="level2Shape" presStyleLbl="node4" presStyleIdx="4" presStyleCnt="11"/>
      <dgm:spPr/>
    </dgm:pt>
    <dgm:pt modelId="{7F8E9BE5-4DE2-4893-9172-ED70ADA361FB}" type="pres">
      <dgm:prSet presAssocID="{90D01477-9C59-4A9F-960B-4BC90EEC7FEC}" presName="hierChild3" presStyleCnt="0"/>
      <dgm:spPr/>
    </dgm:pt>
    <dgm:pt modelId="{A95C36C4-8283-4B01-9672-FA29E979D380}" type="pres">
      <dgm:prSet presAssocID="{88CD46BD-F712-42A8-B55E-1EEE8C7311BD}" presName="Name19" presStyleLbl="parChTrans1D4" presStyleIdx="5" presStyleCnt="11"/>
      <dgm:spPr/>
    </dgm:pt>
    <dgm:pt modelId="{1BC27D5E-A0B5-47DE-AD59-492B99952EC6}" type="pres">
      <dgm:prSet presAssocID="{ED912239-B53B-4008-9260-3955A881FC2A}" presName="Name21" presStyleCnt="0"/>
      <dgm:spPr/>
    </dgm:pt>
    <dgm:pt modelId="{582AD9B7-8F29-4F13-95B3-C1CD7231370D}" type="pres">
      <dgm:prSet presAssocID="{ED912239-B53B-4008-9260-3955A881FC2A}" presName="level2Shape" presStyleLbl="node4" presStyleIdx="5" presStyleCnt="11"/>
      <dgm:spPr/>
    </dgm:pt>
    <dgm:pt modelId="{8F1ED137-738F-4D02-92CE-B76704B9B026}" type="pres">
      <dgm:prSet presAssocID="{ED912239-B53B-4008-9260-3955A881FC2A}" presName="hierChild3" presStyleCnt="0"/>
      <dgm:spPr/>
    </dgm:pt>
    <dgm:pt modelId="{A5DEEF18-0418-453C-BFDD-B6504EB93C71}" type="pres">
      <dgm:prSet presAssocID="{63A7ABD2-1ED5-4252-A23B-5F870F5F08DD}" presName="Name19" presStyleLbl="parChTrans1D4" presStyleIdx="6" presStyleCnt="11"/>
      <dgm:spPr/>
    </dgm:pt>
    <dgm:pt modelId="{002179F9-5CCC-4235-BA71-E6017709DE9E}" type="pres">
      <dgm:prSet presAssocID="{AACDF00E-B4E5-42B3-B8B8-29E94DFB8118}" presName="Name21" presStyleCnt="0"/>
      <dgm:spPr/>
    </dgm:pt>
    <dgm:pt modelId="{9C774485-74FF-41BF-A922-3BC57F331365}" type="pres">
      <dgm:prSet presAssocID="{AACDF00E-B4E5-42B3-B8B8-29E94DFB8118}" presName="level2Shape" presStyleLbl="node4" presStyleIdx="6" presStyleCnt="11"/>
      <dgm:spPr/>
    </dgm:pt>
    <dgm:pt modelId="{2B69C929-46CF-4274-A9EA-017FEBE1B069}" type="pres">
      <dgm:prSet presAssocID="{AACDF00E-B4E5-42B3-B8B8-29E94DFB8118}" presName="hierChild3" presStyleCnt="0"/>
      <dgm:spPr/>
    </dgm:pt>
    <dgm:pt modelId="{C950A479-0EB6-41A5-88B4-4BF566C00EA3}" type="pres">
      <dgm:prSet presAssocID="{6AB071D2-EEFF-4DA2-AFD5-4BB481E355B0}" presName="Name19" presStyleLbl="parChTrans1D2" presStyleIdx="1" presStyleCnt="3"/>
      <dgm:spPr/>
    </dgm:pt>
    <dgm:pt modelId="{ECF1DA17-6D02-470D-914F-18B76B4A6462}" type="pres">
      <dgm:prSet presAssocID="{4AD880C2-B9A8-4B0B-AFAD-0320E20EE1A7}" presName="Name21" presStyleCnt="0"/>
      <dgm:spPr/>
    </dgm:pt>
    <dgm:pt modelId="{9976998B-5F74-4238-81FE-9DF932002021}" type="pres">
      <dgm:prSet presAssocID="{4AD880C2-B9A8-4B0B-AFAD-0320E20EE1A7}" presName="level2Shape" presStyleLbl="node2" presStyleIdx="1" presStyleCnt="3"/>
      <dgm:spPr/>
    </dgm:pt>
    <dgm:pt modelId="{1B6DF276-75E4-4144-827A-FF30E4C6C084}" type="pres">
      <dgm:prSet presAssocID="{4AD880C2-B9A8-4B0B-AFAD-0320E20EE1A7}" presName="hierChild3" presStyleCnt="0"/>
      <dgm:spPr/>
    </dgm:pt>
    <dgm:pt modelId="{70A3C057-5949-423F-A85F-D2B079D4D4B1}" type="pres">
      <dgm:prSet presAssocID="{0DFB3F4B-E313-49EF-9AC2-29FADBFC6365}" presName="Name19" presStyleLbl="parChTrans1D3" presStyleIdx="2" presStyleCnt="5"/>
      <dgm:spPr/>
    </dgm:pt>
    <dgm:pt modelId="{22A558AF-9C71-4C9C-8C3B-EE4A8DE9C4CE}" type="pres">
      <dgm:prSet presAssocID="{330180EF-8144-4C33-B487-F38BFB0A1C20}" presName="Name21" presStyleCnt="0"/>
      <dgm:spPr/>
    </dgm:pt>
    <dgm:pt modelId="{45B58C7B-2F8F-4E80-A5DA-23D84E4DABE3}" type="pres">
      <dgm:prSet presAssocID="{330180EF-8144-4C33-B487-F38BFB0A1C20}" presName="level2Shape" presStyleLbl="node3" presStyleIdx="2" presStyleCnt="5"/>
      <dgm:spPr/>
    </dgm:pt>
    <dgm:pt modelId="{5AAC6F33-554A-464F-863C-48C534F4D890}" type="pres">
      <dgm:prSet presAssocID="{330180EF-8144-4C33-B487-F38BFB0A1C20}" presName="hierChild3" presStyleCnt="0"/>
      <dgm:spPr/>
    </dgm:pt>
    <dgm:pt modelId="{ED670C13-4ADD-44CA-9D66-F0E0A43860CC}" type="pres">
      <dgm:prSet presAssocID="{8EC84C35-CBC1-41B7-A046-145358D35EFA}" presName="Name19" presStyleLbl="parChTrans1D3" presStyleIdx="3" presStyleCnt="5"/>
      <dgm:spPr/>
    </dgm:pt>
    <dgm:pt modelId="{378F0CA8-9048-4E47-A39B-A0CC05A748A1}" type="pres">
      <dgm:prSet presAssocID="{28975F10-5FB2-4FFF-84FC-D4B1D1E60598}" presName="Name21" presStyleCnt="0"/>
      <dgm:spPr/>
    </dgm:pt>
    <dgm:pt modelId="{D587AC4A-F51E-4C6D-8BFA-941245E20B69}" type="pres">
      <dgm:prSet presAssocID="{28975F10-5FB2-4FFF-84FC-D4B1D1E60598}" presName="level2Shape" presStyleLbl="node3" presStyleIdx="3" presStyleCnt="5"/>
      <dgm:spPr/>
    </dgm:pt>
    <dgm:pt modelId="{DC9F8F07-7F93-443E-9E35-9D23757436E4}" type="pres">
      <dgm:prSet presAssocID="{28975F10-5FB2-4FFF-84FC-D4B1D1E60598}" presName="hierChild3" presStyleCnt="0"/>
      <dgm:spPr/>
    </dgm:pt>
    <dgm:pt modelId="{DCB6E461-FF44-4EDA-AF30-EB89DB9B80DF}" type="pres">
      <dgm:prSet presAssocID="{C85F30E1-63B7-426E-94EF-66FA5DD6655A}" presName="Name19" presStyleLbl="parChTrans1D3" presStyleIdx="4" presStyleCnt="5"/>
      <dgm:spPr/>
    </dgm:pt>
    <dgm:pt modelId="{EC8BA09A-7049-4D76-9B87-5E5494D86537}" type="pres">
      <dgm:prSet presAssocID="{32FC6B7A-1C08-4DD4-BD18-D5117725D199}" presName="Name21" presStyleCnt="0"/>
      <dgm:spPr/>
    </dgm:pt>
    <dgm:pt modelId="{E6C1B0F9-EDA3-45C8-8CF3-540E20D77FE0}" type="pres">
      <dgm:prSet presAssocID="{32FC6B7A-1C08-4DD4-BD18-D5117725D199}" presName="level2Shape" presStyleLbl="node3" presStyleIdx="4" presStyleCnt="5"/>
      <dgm:spPr/>
    </dgm:pt>
    <dgm:pt modelId="{E12D9959-AF1F-48FA-8F22-646731DB5173}" type="pres">
      <dgm:prSet presAssocID="{32FC6B7A-1C08-4DD4-BD18-D5117725D199}" presName="hierChild3" presStyleCnt="0"/>
      <dgm:spPr/>
    </dgm:pt>
    <dgm:pt modelId="{E10F6EF7-BA34-4DD7-B0CB-6215B1A63FDF}" type="pres">
      <dgm:prSet presAssocID="{311E66B7-9E1D-44E6-B8E5-D302A677B39D}" presName="Name19" presStyleLbl="parChTrans1D4" presStyleIdx="7" presStyleCnt="11"/>
      <dgm:spPr/>
    </dgm:pt>
    <dgm:pt modelId="{218E8D31-E150-4C5A-898D-9CD6D7ECE535}" type="pres">
      <dgm:prSet presAssocID="{76DD6C57-6E3C-43F4-919D-9DD2C09B54E4}" presName="Name21" presStyleCnt="0"/>
      <dgm:spPr/>
    </dgm:pt>
    <dgm:pt modelId="{38636472-2FAB-4308-9CE8-9FE29BAEDC7E}" type="pres">
      <dgm:prSet presAssocID="{76DD6C57-6E3C-43F4-919D-9DD2C09B54E4}" presName="level2Shape" presStyleLbl="node4" presStyleIdx="7" presStyleCnt="11"/>
      <dgm:spPr/>
    </dgm:pt>
    <dgm:pt modelId="{2C93EC22-5EB1-4147-ADEE-7D36127BFFD3}" type="pres">
      <dgm:prSet presAssocID="{76DD6C57-6E3C-43F4-919D-9DD2C09B54E4}" presName="hierChild3" presStyleCnt="0"/>
      <dgm:spPr/>
    </dgm:pt>
    <dgm:pt modelId="{D88E10BA-53E6-467C-A7E0-06436D9E61BE}" type="pres">
      <dgm:prSet presAssocID="{6971A019-E07D-4AF4-8B95-D17C12F72D7C}" presName="Name19" presStyleLbl="parChTrans1D4" presStyleIdx="8" presStyleCnt="11"/>
      <dgm:spPr/>
    </dgm:pt>
    <dgm:pt modelId="{C4E8BB8B-EF2E-4F03-9F8E-B25779FF9BCA}" type="pres">
      <dgm:prSet presAssocID="{D1F361EE-732B-42CE-A1C7-58688DFC54A3}" presName="Name21" presStyleCnt="0"/>
      <dgm:spPr/>
    </dgm:pt>
    <dgm:pt modelId="{4AFBDA1C-C874-4F01-AF37-C3096FED922E}" type="pres">
      <dgm:prSet presAssocID="{D1F361EE-732B-42CE-A1C7-58688DFC54A3}" presName="level2Shape" presStyleLbl="node4" presStyleIdx="8" presStyleCnt="11"/>
      <dgm:spPr/>
    </dgm:pt>
    <dgm:pt modelId="{F0B29A47-B437-415C-A1BD-6B7DAE5F2180}" type="pres">
      <dgm:prSet presAssocID="{D1F361EE-732B-42CE-A1C7-58688DFC54A3}" presName="hierChild3" presStyleCnt="0"/>
      <dgm:spPr/>
    </dgm:pt>
    <dgm:pt modelId="{72EBBE43-285A-47BC-9CD8-6D2E6113B1E2}" type="pres">
      <dgm:prSet presAssocID="{843D162A-C242-4538-B0EA-2F6A1B658352}" presName="Name19" presStyleLbl="parChTrans1D4" presStyleIdx="9" presStyleCnt="11"/>
      <dgm:spPr/>
    </dgm:pt>
    <dgm:pt modelId="{96951545-B1FB-4A7A-81C3-65FBE31D13BD}" type="pres">
      <dgm:prSet presAssocID="{A123B4CB-73AE-4A5D-A96F-74B83F93E5E2}" presName="Name21" presStyleCnt="0"/>
      <dgm:spPr/>
    </dgm:pt>
    <dgm:pt modelId="{0A8C54FF-7D2E-46A8-BA71-B84296E5E964}" type="pres">
      <dgm:prSet presAssocID="{A123B4CB-73AE-4A5D-A96F-74B83F93E5E2}" presName="level2Shape" presStyleLbl="node4" presStyleIdx="9" presStyleCnt="11"/>
      <dgm:spPr/>
    </dgm:pt>
    <dgm:pt modelId="{AF8BBE8F-F37C-4A6D-90EE-1D66213AC75A}" type="pres">
      <dgm:prSet presAssocID="{A123B4CB-73AE-4A5D-A96F-74B83F93E5E2}" presName="hierChild3" presStyleCnt="0"/>
      <dgm:spPr/>
    </dgm:pt>
    <dgm:pt modelId="{F291E371-CD14-403D-A723-65A03D12A7FF}" type="pres">
      <dgm:prSet presAssocID="{91033EEB-239E-40A6-9D1C-0FB4642C9E91}" presName="Name19" presStyleLbl="parChTrans1D4" presStyleIdx="10" presStyleCnt="11"/>
      <dgm:spPr/>
    </dgm:pt>
    <dgm:pt modelId="{93697330-7A91-456D-96F4-7D194A5B2B24}" type="pres">
      <dgm:prSet presAssocID="{39A17D33-A3CC-483D-AB6A-26869FBCEA5F}" presName="Name21" presStyleCnt="0"/>
      <dgm:spPr/>
    </dgm:pt>
    <dgm:pt modelId="{393D0264-7D93-463D-91A9-934FC57FFF7F}" type="pres">
      <dgm:prSet presAssocID="{39A17D33-A3CC-483D-AB6A-26869FBCEA5F}" presName="level2Shape" presStyleLbl="node4" presStyleIdx="10" presStyleCnt="11"/>
      <dgm:spPr/>
    </dgm:pt>
    <dgm:pt modelId="{11A76D09-0D09-4127-ABB3-69400B83464C}" type="pres">
      <dgm:prSet presAssocID="{39A17D33-A3CC-483D-AB6A-26869FBCEA5F}" presName="hierChild3" presStyleCnt="0"/>
      <dgm:spPr/>
    </dgm:pt>
    <dgm:pt modelId="{0A2B502C-2983-4F3C-80EA-EFB6C1B8D582}" type="pres">
      <dgm:prSet presAssocID="{C595A4F7-E038-440C-B148-A22701255FED}" presName="Name19" presStyleLbl="parChTrans1D2" presStyleIdx="2" presStyleCnt="3"/>
      <dgm:spPr/>
    </dgm:pt>
    <dgm:pt modelId="{372B1458-3965-4AA4-AF78-D649C75CB170}" type="pres">
      <dgm:prSet presAssocID="{FB9A90B7-35CF-4607-9755-820B6F5C6915}" presName="Name21" presStyleCnt="0"/>
      <dgm:spPr/>
    </dgm:pt>
    <dgm:pt modelId="{00AB41C9-6D2A-4640-86FB-7C5B89DA0554}" type="pres">
      <dgm:prSet presAssocID="{FB9A90B7-35CF-4607-9755-820B6F5C6915}" presName="level2Shape" presStyleLbl="node2" presStyleIdx="2" presStyleCnt="3"/>
      <dgm:spPr/>
    </dgm:pt>
    <dgm:pt modelId="{8EB01700-1C58-4437-BF1B-2650534515E4}" type="pres">
      <dgm:prSet presAssocID="{FB9A90B7-35CF-4607-9755-820B6F5C6915}" presName="hierChild3" presStyleCnt="0"/>
      <dgm:spPr/>
    </dgm:pt>
    <dgm:pt modelId="{9D735DF0-8CAC-402F-B50B-440C630377AF}" type="pres">
      <dgm:prSet presAssocID="{2CF2201B-9128-4080-993D-FBFD4DEDDE22}" presName="bgShapesFlow" presStyleCnt="0"/>
      <dgm:spPr/>
    </dgm:pt>
    <dgm:pt modelId="{235A0773-7E47-46E6-9210-5439C784413C}" type="pres">
      <dgm:prSet presAssocID="{775216D1-1FFF-4E4A-A842-2675F899B02F}" presName="rectComp" presStyleCnt="0"/>
      <dgm:spPr/>
    </dgm:pt>
    <dgm:pt modelId="{789920EF-67C2-44D1-9100-51B6F3F7EB7C}" type="pres">
      <dgm:prSet presAssocID="{775216D1-1FFF-4E4A-A842-2675F899B02F}" presName="bgRect" presStyleLbl="bgShp" presStyleIdx="0" presStyleCnt="2"/>
      <dgm:spPr/>
    </dgm:pt>
    <dgm:pt modelId="{C06B3BEE-0D0D-407E-8167-C0A94A3F6898}" type="pres">
      <dgm:prSet presAssocID="{775216D1-1FFF-4E4A-A842-2675F899B02F}" presName="bgRectTx" presStyleLbl="bgShp" presStyleIdx="0" presStyleCnt="2">
        <dgm:presLayoutVars>
          <dgm:bulletEnabled val="1"/>
        </dgm:presLayoutVars>
      </dgm:prSet>
      <dgm:spPr/>
    </dgm:pt>
    <dgm:pt modelId="{C622D8B6-F623-48F6-A34A-CB105A79FA63}" type="pres">
      <dgm:prSet presAssocID="{775216D1-1FFF-4E4A-A842-2675F899B02F}" presName="spComp" presStyleCnt="0"/>
      <dgm:spPr/>
    </dgm:pt>
    <dgm:pt modelId="{0C832FD4-4B77-4989-AD70-35AF72E97E37}" type="pres">
      <dgm:prSet presAssocID="{775216D1-1FFF-4E4A-A842-2675F899B02F}" presName="vSp" presStyleCnt="0"/>
      <dgm:spPr/>
    </dgm:pt>
    <dgm:pt modelId="{22CFF7D7-B687-462E-B912-C05ACDF03826}" type="pres">
      <dgm:prSet presAssocID="{5DC38E05-E2DE-426D-819A-D87773D74234}" presName="rectComp" presStyleCnt="0"/>
      <dgm:spPr/>
    </dgm:pt>
    <dgm:pt modelId="{68233D1F-A65A-4786-B45D-09F14ABA5279}" type="pres">
      <dgm:prSet presAssocID="{5DC38E05-E2DE-426D-819A-D87773D74234}" presName="bgRect" presStyleLbl="bgShp" presStyleIdx="1" presStyleCnt="2" custScaleY="395400" custLinFactNeighborX="714" custLinFactNeighborY="731"/>
      <dgm:spPr/>
    </dgm:pt>
    <dgm:pt modelId="{0699492C-BF87-4F7F-B00B-DBDFC359C84D}" type="pres">
      <dgm:prSet presAssocID="{5DC38E05-E2DE-426D-819A-D87773D74234}" presName="bgRectTx" presStyleLbl="bgShp" presStyleIdx="1" presStyleCnt="2">
        <dgm:presLayoutVars>
          <dgm:bulletEnabled val="1"/>
        </dgm:presLayoutVars>
      </dgm:prSet>
      <dgm:spPr/>
    </dgm:pt>
  </dgm:ptLst>
  <dgm:cxnLst>
    <dgm:cxn modelId="{3BFB6C02-FB07-4CF1-8E8E-F89A1FAD049C}" srcId="{32FC6B7A-1C08-4DD4-BD18-D5117725D199}" destId="{76DD6C57-6E3C-43F4-919D-9DD2C09B54E4}" srcOrd="0" destOrd="0" parTransId="{311E66B7-9E1D-44E6-B8E5-D302A677B39D}" sibTransId="{20410E07-940B-49F4-90A0-82C78E94A434}"/>
    <dgm:cxn modelId="{241C1B06-50C5-472C-BA83-6C0CBE071E86}" type="presOf" srcId="{88CD46BD-F712-42A8-B55E-1EEE8C7311BD}" destId="{A95C36C4-8283-4B01-9672-FA29E979D380}" srcOrd="0" destOrd="0" presId="urn:microsoft.com/office/officeart/2005/8/layout/hierarchy6"/>
    <dgm:cxn modelId="{B446ED0A-22C5-4C5E-AD5D-BA4738EE6997}" type="presOf" srcId="{A123B4CB-73AE-4A5D-A96F-74B83F93E5E2}" destId="{0A8C54FF-7D2E-46A8-BA71-B84296E5E964}" srcOrd="0" destOrd="0" presId="urn:microsoft.com/office/officeart/2005/8/layout/hierarchy6"/>
    <dgm:cxn modelId="{4A6DAB0D-47DE-4502-BA67-C6B32B5A651F}" type="presOf" srcId="{C6D1E41C-F5D8-446F-BA19-CFF2C55BEDAC}" destId="{D3C68F7C-DF79-4163-8AF7-E33CE0BF20C4}" srcOrd="0" destOrd="0" presId="urn:microsoft.com/office/officeart/2005/8/layout/hierarchy6"/>
    <dgm:cxn modelId="{CAD9B921-3DE8-4EF6-9957-6F5DAFAFE680}" type="presOf" srcId="{924C3E04-4048-449A-BD22-73391AEA3F86}" destId="{97C1621B-FFE7-4595-AF02-D305C7CE7479}" srcOrd="0" destOrd="0" presId="urn:microsoft.com/office/officeart/2005/8/layout/hierarchy6"/>
    <dgm:cxn modelId="{E9CF8B23-D84B-490F-BAAB-0DCD0B26257F}" srcId="{924C3E04-4048-449A-BD22-73391AEA3F86}" destId="{90D01477-9C59-4A9F-960B-4BC90EEC7FEC}" srcOrd="1" destOrd="0" parTransId="{8F9EB798-50F5-48D6-B950-67DB8D2C79B7}" sibTransId="{91F8361B-569F-4B59-8188-F5C6758DBDAA}"/>
    <dgm:cxn modelId="{EABFD626-6E59-4C5F-BE96-6141AD79983D}" type="presOf" srcId="{DEBAF3EE-B239-486B-A34D-40871CB52EFE}" destId="{16302290-C701-4DAB-B485-8240FB4ABACC}" srcOrd="0" destOrd="0" presId="urn:microsoft.com/office/officeart/2005/8/layout/hierarchy6"/>
    <dgm:cxn modelId="{633CFB28-D875-4CE3-AF3C-A52C16C6AA84}" type="presOf" srcId="{A2E97256-F515-4B32-A735-5C6006508A81}" destId="{250A0804-1C40-449F-A81A-A9ADC5BC7A61}" srcOrd="0" destOrd="0" presId="urn:microsoft.com/office/officeart/2005/8/layout/hierarchy6"/>
    <dgm:cxn modelId="{B3832D29-A6E3-49BC-8B97-CCF1705D9D9F}" type="presOf" srcId="{775216D1-1FFF-4E4A-A842-2675F899B02F}" destId="{789920EF-67C2-44D1-9100-51B6F3F7EB7C}" srcOrd="0" destOrd="0" presId="urn:microsoft.com/office/officeart/2005/8/layout/hierarchy6"/>
    <dgm:cxn modelId="{308D8E2F-268A-4D05-A849-0CB8C97BE465}" type="presOf" srcId="{FB9A90B7-35CF-4607-9755-820B6F5C6915}" destId="{00AB41C9-6D2A-4640-86FB-7C5B89DA0554}" srcOrd="0" destOrd="0" presId="urn:microsoft.com/office/officeart/2005/8/layout/hierarchy6"/>
    <dgm:cxn modelId="{FC68C833-CC2D-4272-9844-BAB4E9E0565D}" type="presOf" srcId="{12B6E7F5-0909-4C20-8778-EA30F055358F}" destId="{CC671C13-58C6-4A76-B11E-E6832B3109E2}" srcOrd="0" destOrd="0" presId="urn:microsoft.com/office/officeart/2005/8/layout/hierarchy6"/>
    <dgm:cxn modelId="{0AB8E133-9C41-416E-8A31-1D0C9E783595}" srcId="{32FC6B7A-1C08-4DD4-BD18-D5117725D199}" destId="{A123B4CB-73AE-4A5D-A96F-74B83F93E5E2}" srcOrd="2" destOrd="0" parTransId="{843D162A-C242-4538-B0EA-2F6A1B658352}" sibTransId="{A2CDA91B-C553-453A-8F25-DE0DF7689C59}"/>
    <dgm:cxn modelId="{3E76D938-6D17-4664-A6C8-D14AE7E41623}" type="presOf" srcId="{AACDF00E-B4E5-42B3-B8B8-29E94DFB8118}" destId="{9C774485-74FF-41BF-A922-3BC57F331365}" srcOrd="0" destOrd="0" presId="urn:microsoft.com/office/officeart/2005/8/layout/hierarchy6"/>
    <dgm:cxn modelId="{A3645039-ED85-43E8-8859-DEAC5DCF2A03}" srcId="{4AD880C2-B9A8-4B0B-AFAD-0320E20EE1A7}" destId="{330180EF-8144-4C33-B487-F38BFB0A1C20}" srcOrd="0" destOrd="0" parTransId="{0DFB3F4B-E313-49EF-9AC2-29FADBFC6365}" sibTransId="{6798623E-8064-4BED-8652-29932255EB9B}"/>
    <dgm:cxn modelId="{5DDB083D-D401-40D0-B5A4-4A282E686A1E}" type="presOf" srcId="{B09E0A40-D6AF-4185-B540-28D7B5A1B4F0}" destId="{127D3B33-719E-4D1D-9080-17A12111A0B0}" srcOrd="0" destOrd="0" presId="urn:microsoft.com/office/officeart/2005/8/layout/hierarchy6"/>
    <dgm:cxn modelId="{B4F7CB5C-7E7F-4EC6-9DB9-EDA7AF9DBDFA}" type="presOf" srcId="{8EC84C35-CBC1-41B7-A046-145358D35EFA}" destId="{ED670C13-4ADD-44CA-9D66-F0E0A43860CC}" srcOrd="0" destOrd="0" presId="urn:microsoft.com/office/officeart/2005/8/layout/hierarchy6"/>
    <dgm:cxn modelId="{4ED31C5E-1F46-496D-88E3-A8383BD27625}" srcId="{4AD880C2-B9A8-4B0B-AFAD-0320E20EE1A7}" destId="{28975F10-5FB2-4FFF-84FC-D4B1D1E60598}" srcOrd="1" destOrd="0" parTransId="{8EC84C35-CBC1-41B7-A046-145358D35EFA}" sibTransId="{FB7AA234-BE4E-4C3B-8AA5-FF44502398D9}"/>
    <dgm:cxn modelId="{A9F4815F-4CAE-440E-BECC-11B000CBA917}" type="presOf" srcId="{6AB071D2-EEFF-4DA2-AFD5-4BB481E355B0}" destId="{C950A479-0EB6-41A5-88B4-4BF566C00EA3}" srcOrd="0" destOrd="0" presId="urn:microsoft.com/office/officeart/2005/8/layout/hierarchy6"/>
    <dgm:cxn modelId="{16E7CD62-02F5-4AB4-835E-952E0F47B1F5}" type="presOf" srcId="{843D162A-C242-4538-B0EA-2F6A1B658352}" destId="{72EBBE43-285A-47BC-9CD8-6D2E6113B1E2}" srcOrd="0" destOrd="0" presId="urn:microsoft.com/office/officeart/2005/8/layout/hierarchy6"/>
    <dgm:cxn modelId="{705CDC67-2E56-4382-8170-FAE3658C05AA}" srcId="{2CF2201B-9128-4080-993D-FBFD4DEDDE22}" destId="{B09E0A40-D6AF-4185-B540-28D7B5A1B4F0}" srcOrd="0" destOrd="0" parTransId="{54F326FF-69B4-4E01-95F0-E95678598FC4}" sibTransId="{F9B817DE-019C-4472-BBFC-0FADBAA561CD}"/>
    <dgm:cxn modelId="{DE5AB669-B604-4DBF-88F4-828DA924E94D}" type="presOf" srcId="{5DC38E05-E2DE-426D-819A-D87773D74234}" destId="{0699492C-BF87-4F7F-B00B-DBDFC359C84D}" srcOrd="1" destOrd="0" presId="urn:microsoft.com/office/officeart/2005/8/layout/hierarchy6"/>
    <dgm:cxn modelId="{AEF4544D-1619-4D08-9C85-41D06C23B1EF}" type="presOf" srcId="{8D6AE135-7DC5-4395-A6E4-29F3CA947789}" destId="{C7A741EB-9991-4FA7-BDEE-F85AB7E44177}" srcOrd="0" destOrd="0" presId="urn:microsoft.com/office/officeart/2005/8/layout/hierarchy6"/>
    <dgm:cxn modelId="{77B5BF50-1A46-41D2-B5D7-C72AA9094C70}" type="presOf" srcId="{ED912239-B53B-4008-9260-3955A881FC2A}" destId="{582AD9B7-8F29-4F13-95B3-C1CD7231370D}" srcOrd="0" destOrd="0" presId="urn:microsoft.com/office/officeart/2005/8/layout/hierarchy6"/>
    <dgm:cxn modelId="{20109C52-E1F2-41AE-B93E-FD08FDB4B839}" type="presOf" srcId="{E89E5B37-3E11-4287-88B2-1E495CA8AC75}" destId="{F6D9BAD0-C159-4B3F-B7D9-0E7997766A71}" srcOrd="0" destOrd="0" presId="urn:microsoft.com/office/officeart/2005/8/layout/hierarchy6"/>
    <dgm:cxn modelId="{42388277-CBBD-40FE-8363-A7854F80F975}" type="presOf" srcId="{0DFB3F4B-E313-49EF-9AC2-29FADBFC6365}" destId="{70A3C057-5949-423F-A85F-D2B079D4D4B1}" srcOrd="0" destOrd="0" presId="urn:microsoft.com/office/officeart/2005/8/layout/hierarchy6"/>
    <dgm:cxn modelId="{7647FA77-D8AD-4AB0-8571-028919DA6925}" type="presOf" srcId="{0C8CB1FD-17CE-429D-BD81-310A6CA6AD75}" destId="{94782508-8EE4-44B3-9499-2ADABCA82DA2}" srcOrd="0" destOrd="0" presId="urn:microsoft.com/office/officeart/2005/8/layout/hierarchy6"/>
    <dgm:cxn modelId="{D5893A59-F023-425C-B3AD-771E92DD9EF7}" type="presOf" srcId="{775216D1-1FFF-4E4A-A842-2675F899B02F}" destId="{C06B3BEE-0D0D-407E-8167-C0A94A3F6898}" srcOrd="1" destOrd="0" presId="urn:microsoft.com/office/officeart/2005/8/layout/hierarchy6"/>
    <dgm:cxn modelId="{98B73E59-0E9B-4918-9E06-B3FD18B63F89}" type="presOf" srcId="{4AD880C2-B9A8-4B0B-AFAD-0320E20EE1A7}" destId="{9976998B-5F74-4238-81FE-9DF932002021}" srcOrd="0" destOrd="0" presId="urn:microsoft.com/office/officeart/2005/8/layout/hierarchy6"/>
    <dgm:cxn modelId="{C93DC37E-38D8-416C-9676-CAA90114798B}" type="presOf" srcId="{90D01477-9C59-4A9F-960B-4BC90EEC7FEC}" destId="{926AF119-23A1-4014-8659-50DA4304A5B8}" srcOrd="0" destOrd="0" presId="urn:microsoft.com/office/officeart/2005/8/layout/hierarchy6"/>
    <dgm:cxn modelId="{13535289-EC94-4FD6-B4CB-5950E0626158}" type="presOf" srcId="{5DC38E05-E2DE-426D-819A-D87773D74234}" destId="{68233D1F-A65A-4786-B45D-09F14ABA5279}" srcOrd="0" destOrd="0" presId="urn:microsoft.com/office/officeart/2005/8/layout/hierarchy6"/>
    <dgm:cxn modelId="{3A7FF98E-C3EF-4909-8E64-7B3A64BCBBEF}" type="presOf" srcId="{76DD6C57-6E3C-43F4-919D-9DD2C09B54E4}" destId="{38636472-2FAB-4308-9CE8-9FE29BAEDC7E}" srcOrd="0" destOrd="0" presId="urn:microsoft.com/office/officeart/2005/8/layout/hierarchy6"/>
    <dgm:cxn modelId="{83AC3B8F-683C-413D-AB99-446C0D17C28A}" srcId="{B09E0A40-D6AF-4185-B540-28D7B5A1B4F0}" destId="{FB9A90B7-35CF-4607-9755-820B6F5C6915}" srcOrd="2" destOrd="0" parTransId="{C595A4F7-E038-440C-B148-A22701255FED}" sibTransId="{3F48F837-F57E-44DB-9481-E7AD849C8362}"/>
    <dgm:cxn modelId="{368E9D8F-5D41-438A-BA02-6AB61A3F088F}" type="presOf" srcId="{39A17D33-A3CC-483D-AB6A-26869FBCEA5F}" destId="{393D0264-7D93-463D-91A9-934FC57FFF7F}" srcOrd="0" destOrd="0" presId="urn:microsoft.com/office/officeart/2005/8/layout/hierarchy6"/>
    <dgm:cxn modelId="{7C7FAA91-9147-4CCC-9830-A202980627B5}" type="presOf" srcId="{8F9EB798-50F5-48D6-B950-67DB8D2C79B7}" destId="{AB0202CE-5EC8-48BC-A497-623197E4857D}" srcOrd="0" destOrd="0" presId="urn:microsoft.com/office/officeart/2005/8/layout/hierarchy6"/>
    <dgm:cxn modelId="{7A25F391-4E5D-4583-893F-57B029A1B2F9}" srcId="{B09E0A40-D6AF-4185-B540-28D7B5A1B4F0}" destId="{4AD880C2-B9A8-4B0B-AFAD-0320E20EE1A7}" srcOrd="1" destOrd="0" parTransId="{6AB071D2-EEFF-4DA2-AFD5-4BB481E355B0}" sibTransId="{FA762935-1829-4263-B965-671F157FF0A9}"/>
    <dgm:cxn modelId="{943B9D92-FAF5-4B5B-AA5C-445E7B65AF10}" srcId="{2CF2201B-9128-4080-993D-FBFD4DEDDE22}" destId="{775216D1-1FFF-4E4A-A842-2675F899B02F}" srcOrd="1" destOrd="0" parTransId="{48B08855-F728-4483-85C1-680892AACD4E}" sibTransId="{9E3472AC-805A-4510-8222-9A3901539D2E}"/>
    <dgm:cxn modelId="{20D95395-A5C9-49DF-A17C-766998827550}" type="presOf" srcId="{311E66B7-9E1D-44E6-B8E5-D302A677B39D}" destId="{E10F6EF7-BA34-4DD7-B0CB-6215B1A63FDF}" srcOrd="0" destOrd="0" presId="urn:microsoft.com/office/officeart/2005/8/layout/hierarchy6"/>
    <dgm:cxn modelId="{2883B196-29A4-4E7F-99EB-B4C9540C1F94}" type="presOf" srcId="{C85F30E1-63B7-426E-94EF-66FA5DD6655A}" destId="{DCB6E461-FF44-4EDA-AF30-EB89DB9B80DF}" srcOrd="0" destOrd="0" presId="urn:microsoft.com/office/officeart/2005/8/layout/hierarchy6"/>
    <dgm:cxn modelId="{28397D97-1D3A-4D8D-B446-C3EEC6EC590F}" type="presOf" srcId="{330180EF-8144-4C33-B487-F38BFB0A1C20}" destId="{45B58C7B-2F8F-4E80-A5DA-23D84E4DABE3}" srcOrd="0" destOrd="0" presId="urn:microsoft.com/office/officeart/2005/8/layout/hierarchy6"/>
    <dgm:cxn modelId="{BCC57898-5B3A-4DD2-B7A6-CA75F124CC98}" srcId="{32FC6B7A-1C08-4DD4-BD18-D5117725D199}" destId="{D1F361EE-732B-42CE-A1C7-58688DFC54A3}" srcOrd="1" destOrd="0" parTransId="{6971A019-E07D-4AF4-8B95-D17C12F72D7C}" sibTransId="{C663B42C-F63E-4028-94E9-ABE39DD2D398}"/>
    <dgm:cxn modelId="{C64DF1A0-3B99-4EBB-B9E7-9D028357E6D7}" type="presOf" srcId="{2CF2201B-9128-4080-993D-FBFD4DEDDE22}" destId="{BD2EEC77-DE7D-4CA6-9280-0184BF505BD2}" srcOrd="0" destOrd="0" presId="urn:microsoft.com/office/officeart/2005/8/layout/hierarchy6"/>
    <dgm:cxn modelId="{274322A1-4430-4BE6-BC76-0CCB101404AD}" srcId="{12B6E7F5-0909-4C20-8778-EA30F055358F}" destId="{1E60154E-2D5A-4CF7-8659-5BFDDC81FBB5}" srcOrd="1" destOrd="0" parTransId="{DEBAF3EE-B239-486B-A34D-40871CB52EFE}" sibTransId="{73DA71DF-9A4A-4835-917B-42A741005BF0}"/>
    <dgm:cxn modelId="{0CA2E7A5-DE10-44FB-A4E2-82AB020B34A8}" type="presOf" srcId="{32FC6B7A-1C08-4DD4-BD18-D5117725D199}" destId="{E6C1B0F9-EDA3-45C8-8CF3-540E20D77FE0}" srcOrd="0" destOrd="0" presId="urn:microsoft.com/office/officeart/2005/8/layout/hierarchy6"/>
    <dgm:cxn modelId="{3EE394A7-E2BA-4F59-AA52-8F8AF1C03B8E}" srcId="{A123B4CB-73AE-4A5D-A96F-74B83F93E5E2}" destId="{39A17D33-A3CC-483D-AB6A-26869FBCEA5F}" srcOrd="0" destOrd="0" parTransId="{91033EEB-239E-40A6-9D1C-0FB4642C9E91}" sibTransId="{D43EEEBF-EB6B-465A-BD0B-201CBF7D7BED}"/>
    <dgm:cxn modelId="{974331A8-5450-4C7E-B801-D44B15277624}" type="presOf" srcId="{63A7ABD2-1ED5-4252-A23B-5F870F5F08DD}" destId="{A5DEEF18-0418-453C-BFDD-B6504EB93C71}" srcOrd="0" destOrd="0" presId="urn:microsoft.com/office/officeart/2005/8/layout/hierarchy6"/>
    <dgm:cxn modelId="{994C79AB-6B36-4522-BAB5-B88E0B8DDFCD}" type="presOf" srcId="{C595A4F7-E038-440C-B148-A22701255FED}" destId="{0A2B502C-2983-4F3C-80EA-EFB6C1B8D582}" srcOrd="0" destOrd="0" presId="urn:microsoft.com/office/officeart/2005/8/layout/hierarchy6"/>
    <dgm:cxn modelId="{6399CCB6-EA55-4836-B1CC-8B9A150773B1}" type="presOf" srcId="{ADAD80FB-A96F-4D1C-82A8-67886D3CF038}" destId="{1883F37A-67B2-43AA-A6BB-8B26883AD956}" srcOrd="0" destOrd="0" presId="urn:microsoft.com/office/officeart/2005/8/layout/hierarchy6"/>
    <dgm:cxn modelId="{10B8D8BA-FF43-4626-9C4B-AD52523C7BEF}" srcId="{1E60154E-2D5A-4CF7-8659-5BFDDC81FBB5}" destId="{A0D05C7C-215A-4A4F-89FE-ADC58DC4D2B6}" srcOrd="0" destOrd="0" parTransId="{A2E97256-F515-4B32-A735-5C6006508A81}" sibTransId="{F721AE55-1988-43D2-90CF-ADAD8245087F}"/>
    <dgm:cxn modelId="{24F826C0-EDD0-4E4A-A3B4-5344D7F4FDA2}" srcId="{12B6E7F5-0909-4C20-8778-EA30F055358F}" destId="{ADAD80FB-A96F-4D1C-82A8-67886D3CF038}" srcOrd="0" destOrd="0" parTransId="{B5E327B7-D508-4BE9-A0DD-E32CD0165489}" sibTransId="{2C241AD4-C608-4D86-A7C0-348887860949}"/>
    <dgm:cxn modelId="{CE4467C2-0A46-4533-B866-264E3C570202}" srcId="{1E60154E-2D5A-4CF7-8659-5BFDDC81FBB5}" destId="{8DADA950-EC46-45BB-A8CF-95AD40D99561}" srcOrd="1" destOrd="0" parTransId="{C6D1E41C-F5D8-446F-BA19-CFF2C55BEDAC}" sibTransId="{C15EC2A2-64AD-41A3-9431-AD99BA92C0A6}"/>
    <dgm:cxn modelId="{860E41C5-1014-4219-972C-6CE63CD4AA9B}" srcId="{2CF2201B-9128-4080-993D-FBFD4DEDDE22}" destId="{5DC38E05-E2DE-426D-819A-D87773D74234}" srcOrd="2" destOrd="0" parTransId="{28F32A50-97AE-42D2-958B-81C89A4CD181}" sibTransId="{16E3A76C-6C62-49E5-BCA6-B75A564F2F75}"/>
    <dgm:cxn modelId="{46B01CCC-CB3E-4A5E-9DB2-1E3E7CE84948}" type="presOf" srcId="{28975F10-5FB2-4FFF-84FC-D4B1D1E60598}" destId="{D587AC4A-F51E-4C6D-8BFA-941245E20B69}" srcOrd="0" destOrd="0" presId="urn:microsoft.com/office/officeart/2005/8/layout/hierarchy6"/>
    <dgm:cxn modelId="{F797F9CD-3B95-4954-8A2C-75616BCF72B4}" srcId="{924C3E04-4048-449A-BD22-73391AEA3F86}" destId="{ED912239-B53B-4008-9260-3955A881FC2A}" srcOrd="2" destOrd="0" parTransId="{88CD46BD-F712-42A8-B55E-1EEE8C7311BD}" sibTransId="{BB247ABD-D5F7-4EF1-8460-095905C6DCBE}"/>
    <dgm:cxn modelId="{C25366CE-4A75-40B8-ADBD-D5AAD5EA45C9}" type="presOf" srcId="{0FEB750B-CB0B-4507-BBBE-79E7E6BED819}" destId="{BEEBD014-CFC8-46D3-B010-871D4607FCF0}" srcOrd="0" destOrd="0" presId="urn:microsoft.com/office/officeart/2005/8/layout/hierarchy6"/>
    <dgm:cxn modelId="{826D25D4-BB3D-45E8-B085-CBAE5CFCFDDD}" type="presOf" srcId="{91033EEB-239E-40A6-9D1C-0FB4642C9E91}" destId="{F291E371-CD14-403D-A723-65A03D12A7FF}" srcOrd="0" destOrd="0" presId="urn:microsoft.com/office/officeart/2005/8/layout/hierarchy6"/>
    <dgm:cxn modelId="{736ED5DA-5704-4B51-B81A-23946EE6203D}" type="presOf" srcId="{B5E327B7-D508-4BE9-A0DD-E32CD0165489}" destId="{AB967EAA-DF23-45A5-9E22-79489EF07869}" srcOrd="0" destOrd="0" presId="urn:microsoft.com/office/officeart/2005/8/layout/hierarchy6"/>
    <dgm:cxn modelId="{E2379AE3-C2ED-47D5-A41F-19DACCA04BBC}" srcId="{1E60154E-2D5A-4CF7-8659-5BFDDC81FBB5}" destId="{AACDF00E-B4E5-42B3-B8B8-29E94DFB8118}" srcOrd="3" destOrd="0" parTransId="{63A7ABD2-1ED5-4252-A23B-5F870F5F08DD}" sibTransId="{404869FB-ABD8-4745-9DCC-988F18DE4ECA}"/>
    <dgm:cxn modelId="{8DE4D8E4-7931-4147-952B-CF44867B1C59}" type="presOf" srcId="{D1F361EE-732B-42CE-A1C7-58688DFC54A3}" destId="{4AFBDA1C-C874-4F01-AF37-C3096FED922E}" srcOrd="0" destOrd="0" presId="urn:microsoft.com/office/officeart/2005/8/layout/hierarchy6"/>
    <dgm:cxn modelId="{6D7DC8F3-C9B3-42CF-8ECC-0757E73B34DC}" srcId="{4AD880C2-B9A8-4B0B-AFAD-0320E20EE1A7}" destId="{32FC6B7A-1C08-4DD4-BD18-D5117725D199}" srcOrd="2" destOrd="0" parTransId="{C85F30E1-63B7-426E-94EF-66FA5DD6655A}" sibTransId="{7BA1BBDD-8C85-455C-8F6A-8CECA4A35159}"/>
    <dgm:cxn modelId="{53500CF4-0AB0-4E30-AA28-2D515DC9BB6B}" srcId="{1E60154E-2D5A-4CF7-8659-5BFDDC81FBB5}" destId="{924C3E04-4048-449A-BD22-73391AEA3F86}" srcOrd="2" destOrd="0" parTransId="{0FEB750B-CB0B-4507-BBBE-79E7E6BED819}" sibTransId="{22BA2ED5-4DAA-44E8-B6D6-E5AD5972BA25}"/>
    <dgm:cxn modelId="{2760F5F4-2C7A-4921-918C-459AA96820EA}" type="presOf" srcId="{8DADA950-EC46-45BB-A8CF-95AD40D99561}" destId="{6F1F32DA-F2C0-4D86-A2E4-34B807564B5E}" srcOrd="0" destOrd="0" presId="urn:microsoft.com/office/officeart/2005/8/layout/hierarchy6"/>
    <dgm:cxn modelId="{26B700F9-DA59-485E-8606-FB0CB1A65561}" type="presOf" srcId="{A0D05C7C-215A-4A4F-89FE-ADC58DC4D2B6}" destId="{AA846796-AA5F-4B2F-9840-0925DB1FE69F}" srcOrd="0" destOrd="0" presId="urn:microsoft.com/office/officeart/2005/8/layout/hierarchy6"/>
    <dgm:cxn modelId="{99E725FA-BA8B-49A6-831D-648C7183240F}" srcId="{B09E0A40-D6AF-4185-B540-28D7B5A1B4F0}" destId="{12B6E7F5-0909-4C20-8778-EA30F055358F}" srcOrd="0" destOrd="0" parTransId="{E89E5B37-3E11-4287-88B2-1E495CA8AC75}" sibTransId="{08C45D4B-80BC-46E0-9DBE-9796462FA4FE}"/>
    <dgm:cxn modelId="{00D511FD-C70F-4F9E-96D5-3D607C2EA374}" srcId="{924C3E04-4048-449A-BD22-73391AEA3F86}" destId="{8D6AE135-7DC5-4395-A6E4-29F3CA947789}" srcOrd="0" destOrd="0" parTransId="{0C8CB1FD-17CE-429D-BD81-310A6CA6AD75}" sibTransId="{084AAF75-E581-4A26-8179-5FC22659AEDC}"/>
    <dgm:cxn modelId="{0194BDFD-393D-49FE-9D62-FAE8EB1206C8}" type="presOf" srcId="{1E60154E-2D5A-4CF7-8659-5BFDDC81FBB5}" destId="{E7D9F28C-72DC-4E52-8FB1-3E79BF90BD3D}" srcOrd="0" destOrd="0" presId="urn:microsoft.com/office/officeart/2005/8/layout/hierarchy6"/>
    <dgm:cxn modelId="{9641E6FF-A4E7-4CD5-9038-0BB284CF5EBE}" type="presOf" srcId="{6971A019-E07D-4AF4-8B95-D17C12F72D7C}" destId="{D88E10BA-53E6-467C-A7E0-06436D9E61BE}" srcOrd="0" destOrd="0" presId="urn:microsoft.com/office/officeart/2005/8/layout/hierarchy6"/>
    <dgm:cxn modelId="{A7E3EA23-D5D6-4BBF-B7FF-364E2C513CB1}" type="presParOf" srcId="{BD2EEC77-DE7D-4CA6-9280-0184BF505BD2}" destId="{BF5C1AD7-2C21-46CC-9B0E-C7BD3FC564D8}" srcOrd="0" destOrd="0" presId="urn:microsoft.com/office/officeart/2005/8/layout/hierarchy6"/>
    <dgm:cxn modelId="{FD6EC7D9-AF70-4CC0-939D-82247D4F673A}" type="presParOf" srcId="{BF5C1AD7-2C21-46CC-9B0E-C7BD3FC564D8}" destId="{80FE9C4D-F95B-486D-9B7C-DB12B7FF7B22}" srcOrd="0" destOrd="0" presId="urn:microsoft.com/office/officeart/2005/8/layout/hierarchy6"/>
    <dgm:cxn modelId="{5762B83B-F478-4729-83F0-DE779CE8B953}" type="presParOf" srcId="{BF5C1AD7-2C21-46CC-9B0E-C7BD3FC564D8}" destId="{9285A0D7-6BEB-459D-A3B2-DE71B66904F1}" srcOrd="1" destOrd="0" presId="urn:microsoft.com/office/officeart/2005/8/layout/hierarchy6"/>
    <dgm:cxn modelId="{C7710652-70FF-49EC-AEA7-17462690ED33}" type="presParOf" srcId="{9285A0D7-6BEB-459D-A3B2-DE71B66904F1}" destId="{48943EE5-393B-40DA-A315-49E1439EC383}" srcOrd="0" destOrd="0" presId="urn:microsoft.com/office/officeart/2005/8/layout/hierarchy6"/>
    <dgm:cxn modelId="{8100E4F4-9145-4684-8A7B-10F9284CC2EE}" type="presParOf" srcId="{48943EE5-393B-40DA-A315-49E1439EC383}" destId="{127D3B33-719E-4D1D-9080-17A12111A0B0}" srcOrd="0" destOrd="0" presId="urn:microsoft.com/office/officeart/2005/8/layout/hierarchy6"/>
    <dgm:cxn modelId="{12D61415-2805-40D4-BD03-53268E9A0658}" type="presParOf" srcId="{48943EE5-393B-40DA-A315-49E1439EC383}" destId="{A3BCBE14-36B3-43D7-8D31-D5DA877440A9}" srcOrd="1" destOrd="0" presId="urn:microsoft.com/office/officeart/2005/8/layout/hierarchy6"/>
    <dgm:cxn modelId="{4DE910F4-21B8-48DD-85BD-F1203FC00926}" type="presParOf" srcId="{A3BCBE14-36B3-43D7-8D31-D5DA877440A9}" destId="{F6D9BAD0-C159-4B3F-B7D9-0E7997766A71}" srcOrd="0" destOrd="0" presId="urn:microsoft.com/office/officeart/2005/8/layout/hierarchy6"/>
    <dgm:cxn modelId="{3AAE8CFD-5FB2-4D82-AD16-095307888AC1}" type="presParOf" srcId="{A3BCBE14-36B3-43D7-8D31-D5DA877440A9}" destId="{32DC9832-9A5F-45CD-B823-E6C081424223}" srcOrd="1" destOrd="0" presId="urn:microsoft.com/office/officeart/2005/8/layout/hierarchy6"/>
    <dgm:cxn modelId="{61D4B0EC-29F2-411E-9219-E663A4E7BE37}" type="presParOf" srcId="{32DC9832-9A5F-45CD-B823-E6C081424223}" destId="{CC671C13-58C6-4A76-B11E-E6832B3109E2}" srcOrd="0" destOrd="0" presId="urn:microsoft.com/office/officeart/2005/8/layout/hierarchy6"/>
    <dgm:cxn modelId="{46FD0F60-8E27-487B-87B4-25FF9A655B02}" type="presParOf" srcId="{32DC9832-9A5F-45CD-B823-E6C081424223}" destId="{AF877541-8CEE-4EA6-8949-6BE5CEF61B3F}" srcOrd="1" destOrd="0" presId="urn:microsoft.com/office/officeart/2005/8/layout/hierarchy6"/>
    <dgm:cxn modelId="{0F4211E7-19FA-4F68-8DC3-6639013CE56B}" type="presParOf" srcId="{AF877541-8CEE-4EA6-8949-6BE5CEF61B3F}" destId="{AB967EAA-DF23-45A5-9E22-79489EF07869}" srcOrd="0" destOrd="0" presId="urn:microsoft.com/office/officeart/2005/8/layout/hierarchy6"/>
    <dgm:cxn modelId="{213FA23F-7D18-4112-893A-65134EE36271}" type="presParOf" srcId="{AF877541-8CEE-4EA6-8949-6BE5CEF61B3F}" destId="{F7BED830-DAB0-4DE4-909A-C5BE88F8ABC8}" srcOrd="1" destOrd="0" presId="urn:microsoft.com/office/officeart/2005/8/layout/hierarchy6"/>
    <dgm:cxn modelId="{DF9CD4B9-5E39-4716-9561-7746622E7EC2}" type="presParOf" srcId="{F7BED830-DAB0-4DE4-909A-C5BE88F8ABC8}" destId="{1883F37A-67B2-43AA-A6BB-8B26883AD956}" srcOrd="0" destOrd="0" presId="urn:microsoft.com/office/officeart/2005/8/layout/hierarchy6"/>
    <dgm:cxn modelId="{563C310B-0554-4FF7-A1BF-BA01A05A1359}" type="presParOf" srcId="{F7BED830-DAB0-4DE4-909A-C5BE88F8ABC8}" destId="{1F4F8DEE-8067-4825-9B3D-246BE92200D2}" srcOrd="1" destOrd="0" presId="urn:microsoft.com/office/officeart/2005/8/layout/hierarchy6"/>
    <dgm:cxn modelId="{393DA75F-33A3-4EB8-A971-7F06A2C157D8}" type="presParOf" srcId="{AF877541-8CEE-4EA6-8949-6BE5CEF61B3F}" destId="{16302290-C701-4DAB-B485-8240FB4ABACC}" srcOrd="2" destOrd="0" presId="urn:microsoft.com/office/officeart/2005/8/layout/hierarchy6"/>
    <dgm:cxn modelId="{05FAE7EA-5AEF-4116-B188-54AFE505BBAA}" type="presParOf" srcId="{AF877541-8CEE-4EA6-8949-6BE5CEF61B3F}" destId="{11F353A1-9C27-4224-B3F5-320A74FE6B46}" srcOrd="3" destOrd="0" presId="urn:microsoft.com/office/officeart/2005/8/layout/hierarchy6"/>
    <dgm:cxn modelId="{48D055FC-6795-4ACF-86F9-2AF9094CE5D0}" type="presParOf" srcId="{11F353A1-9C27-4224-B3F5-320A74FE6B46}" destId="{E7D9F28C-72DC-4E52-8FB1-3E79BF90BD3D}" srcOrd="0" destOrd="0" presId="urn:microsoft.com/office/officeart/2005/8/layout/hierarchy6"/>
    <dgm:cxn modelId="{EECC113E-FFEF-4E6D-8A99-F8744711B1B0}" type="presParOf" srcId="{11F353A1-9C27-4224-B3F5-320A74FE6B46}" destId="{023B1C3B-22AD-4D6A-B14F-9F7C01A0C09A}" srcOrd="1" destOrd="0" presId="urn:microsoft.com/office/officeart/2005/8/layout/hierarchy6"/>
    <dgm:cxn modelId="{B57D0E11-D881-4295-8F76-EC1599DC0335}" type="presParOf" srcId="{023B1C3B-22AD-4D6A-B14F-9F7C01A0C09A}" destId="{250A0804-1C40-449F-A81A-A9ADC5BC7A61}" srcOrd="0" destOrd="0" presId="urn:microsoft.com/office/officeart/2005/8/layout/hierarchy6"/>
    <dgm:cxn modelId="{F137E90F-9570-45F8-9932-1BA0D858CD0B}" type="presParOf" srcId="{023B1C3B-22AD-4D6A-B14F-9F7C01A0C09A}" destId="{07B0CA90-450F-42D3-A7AA-9501EF614002}" srcOrd="1" destOrd="0" presId="urn:microsoft.com/office/officeart/2005/8/layout/hierarchy6"/>
    <dgm:cxn modelId="{19A5D04D-B632-430D-AA6A-77AC30C889DD}" type="presParOf" srcId="{07B0CA90-450F-42D3-A7AA-9501EF614002}" destId="{AA846796-AA5F-4B2F-9840-0925DB1FE69F}" srcOrd="0" destOrd="0" presId="urn:microsoft.com/office/officeart/2005/8/layout/hierarchy6"/>
    <dgm:cxn modelId="{0AF59EDF-1C00-4A10-8757-34B87340F364}" type="presParOf" srcId="{07B0CA90-450F-42D3-A7AA-9501EF614002}" destId="{1C8ED8BA-8EEF-458C-90F0-4B7FBACF3276}" srcOrd="1" destOrd="0" presId="urn:microsoft.com/office/officeart/2005/8/layout/hierarchy6"/>
    <dgm:cxn modelId="{FF48505B-23B4-44E3-B722-9ECAE0A5F3BF}" type="presParOf" srcId="{023B1C3B-22AD-4D6A-B14F-9F7C01A0C09A}" destId="{D3C68F7C-DF79-4163-8AF7-E33CE0BF20C4}" srcOrd="2" destOrd="0" presId="urn:microsoft.com/office/officeart/2005/8/layout/hierarchy6"/>
    <dgm:cxn modelId="{5D205B89-FB18-4B8E-9FEB-B764B513284F}" type="presParOf" srcId="{023B1C3B-22AD-4D6A-B14F-9F7C01A0C09A}" destId="{CCF35D5B-0728-4CD7-AA3E-66EBBEAEEF70}" srcOrd="3" destOrd="0" presId="urn:microsoft.com/office/officeart/2005/8/layout/hierarchy6"/>
    <dgm:cxn modelId="{E1C84C25-9157-4E91-A9F7-7BA380639BB7}" type="presParOf" srcId="{CCF35D5B-0728-4CD7-AA3E-66EBBEAEEF70}" destId="{6F1F32DA-F2C0-4D86-A2E4-34B807564B5E}" srcOrd="0" destOrd="0" presId="urn:microsoft.com/office/officeart/2005/8/layout/hierarchy6"/>
    <dgm:cxn modelId="{461F9536-92AB-41EC-8E0A-DC5A2B3A4C52}" type="presParOf" srcId="{CCF35D5B-0728-4CD7-AA3E-66EBBEAEEF70}" destId="{4F9655E4-326A-4E0C-9006-33479F555D34}" srcOrd="1" destOrd="0" presId="urn:microsoft.com/office/officeart/2005/8/layout/hierarchy6"/>
    <dgm:cxn modelId="{E7E49577-82F0-4F80-9697-C1D914A8C7D8}" type="presParOf" srcId="{023B1C3B-22AD-4D6A-B14F-9F7C01A0C09A}" destId="{BEEBD014-CFC8-46D3-B010-871D4607FCF0}" srcOrd="4" destOrd="0" presId="urn:microsoft.com/office/officeart/2005/8/layout/hierarchy6"/>
    <dgm:cxn modelId="{71B1489E-0904-47BC-B7EB-58E47A4F5C3D}" type="presParOf" srcId="{023B1C3B-22AD-4D6A-B14F-9F7C01A0C09A}" destId="{D6FA5204-3142-47A3-8C3A-C2E2DDF5B222}" srcOrd="5" destOrd="0" presId="urn:microsoft.com/office/officeart/2005/8/layout/hierarchy6"/>
    <dgm:cxn modelId="{53B8F546-8CAC-424C-ACFE-82D45990CE4A}" type="presParOf" srcId="{D6FA5204-3142-47A3-8C3A-C2E2DDF5B222}" destId="{97C1621B-FFE7-4595-AF02-D305C7CE7479}" srcOrd="0" destOrd="0" presId="urn:microsoft.com/office/officeart/2005/8/layout/hierarchy6"/>
    <dgm:cxn modelId="{E51AEA54-3FBD-4FB0-9CB9-F6330F231698}" type="presParOf" srcId="{D6FA5204-3142-47A3-8C3A-C2E2DDF5B222}" destId="{CBABE683-3241-45F6-9583-0F8A92D6F168}" srcOrd="1" destOrd="0" presId="urn:microsoft.com/office/officeart/2005/8/layout/hierarchy6"/>
    <dgm:cxn modelId="{37F8DBC7-5223-4C37-B515-0DF9CBED7BE9}" type="presParOf" srcId="{CBABE683-3241-45F6-9583-0F8A92D6F168}" destId="{94782508-8EE4-44B3-9499-2ADABCA82DA2}" srcOrd="0" destOrd="0" presId="urn:microsoft.com/office/officeart/2005/8/layout/hierarchy6"/>
    <dgm:cxn modelId="{829E5D03-63DD-40DE-9DC7-83D6E659543A}" type="presParOf" srcId="{CBABE683-3241-45F6-9583-0F8A92D6F168}" destId="{204C0481-922E-4EA9-A834-18A6D64F552D}" srcOrd="1" destOrd="0" presId="urn:microsoft.com/office/officeart/2005/8/layout/hierarchy6"/>
    <dgm:cxn modelId="{294F840C-B3F8-4060-8817-A6915D8B470A}" type="presParOf" srcId="{204C0481-922E-4EA9-A834-18A6D64F552D}" destId="{C7A741EB-9991-4FA7-BDEE-F85AB7E44177}" srcOrd="0" destOrd="0" presId="urn:microsoft.com/office/officeart/2005/8/layout/hierarchy6"/>
    <dgm:cxn modelId="{2E349E56-AA2E-467A-A685-DEAB97EB7691}" type="presParOf" srcId="{204C0481-922E-4EA9-A834-18A6D64F552D}" destId="{0805C69A-67E8-46EC-8C99-DB80D6F7F382}" srcOrd="1" destOrd="0" presId="urn:microsoft.com/office/officeart/2005/8/layout/hierarchy6"/>
    <dgm:cxn modelId="{9F526FE6-1475-43DB-8C0A-613DC7D01314}" type="presParOf" srcId="{CBABE683-3241-45F6-9583-0F8A92D6F168}" destId="{AB0202CE-5EC8-48BC-A497-623197E4857D}" srcOrd="2" destOrd="0" presId="urn:microsoft.com/office/officeart/2005/8/layout/hierarchy6"/>
    <dgm:cxn modelId="{3FE9B27D-607A-4A5A-9E7E-9E82DDF9466C}" type="presParOf" srcId="{CBABE683-3241-45F6-9583-0F8A92D6F168}" destId="{A2037211-3ED2-4169-99E0-B747919A016D}" srcOrd="3" destOrd="0" presId="urn:microsoft.com/office/officeart/2005/8/layout/hierarchy6"/>
    <dgm:cxn modelId="{A68AAD4C-24CD-42CE-89B7-FFD4F380D16A}" type="presParOf" srcId="{A2037211-3ED2-4169-99E0-B747919A016D}" destId="{926AF119-23A1-4014-8659-50DA4304A5B8}" srcOrd="0" destOrd="0" presId="urn:microsoft.com/office/officeart/2005/8/layout/hierarchy6"/>
    <dgm:cxn modelId="{8C797917-8B86-48B8-B234-713887BAAAE7}" type="presParOf" srcId="{A2037211-3ED2-4169-99E0-B747919A016D}" destId="{7F8E9BE5-4DE2-4893-9172-ED70ADA361FB}" srcOrd="1" destOrd="0" presId="urn:microsoft.com/office/officeart/2005/8/layout/hierarchy6"/>
    <dgm:cxn modelId="{5B12A38C-EF5D-475F-B012-C4CE786A22FD}" type="presParOf" srcId="{CBABE683-3241-45F6-9583-0F8A92D6F168}" destId="{A95C36C4-8283-4B01-9672-FA29E979D380}" srcOrd="4" destOrd="0" presId="urn:microsoft.com/office/officeart/2005/8/layout/hierarchy6"/>
    <dgm:cxn modelId="{29ADDCE1-F6B1-499D-B2EB-03D1D14BE076}" type="presParOf" srcId="{CBABE683-3241-45F6-9583-0F8A92D6F168}" destId="{1BC27D5E-A0B5-47DE-AD59-492B99952EC6}" srcOrd="5" destOrd="0" presId="urn:microsoft.com/office/officeart/2005/8/layout/hierarchy6"/>
    <dgm:cxn modelId="{B2C383DD-D0D8-4EC5-B93C-A8690BE02644}" type="presParOf" srcId="{1BC27D5E-A0B5-47DE-AD59-492B99952EC6}" destId="{582AD9B7-8F29-4F13-95B3-C1CD7231370D}" srcOrd="0" destOrd="0" presId="urn:microsoft.com/office/officeart/2005/8/layout/hierarchy6"/>
    <dgm:cxn modelId="{CD5E67AD-DA4E-4B5C-9739-FE7128AB3BC8}" type="presParOf" srcId="{1BC27D5E-A0B5-47DE-AD59-492B99952EC6}" destId="{8F1ED137-738F-4D02-92CE-B76704B9B026}" srcOrd="1" destOrd="0" presId="urn:microsoft.com/office/officeart/2005/8/layout/hierarchy6"/>
    <dgm:cxn modelId="{6E52419F-EDB8-40BB-B774-2AA6022D8EDB}" type="presParOf" srcId="{023B1C3B-22AD-4D6A-B14F-9F7C01A0C09A}" destId="{A5DEEF18-0418-453C-BFDD-B6504EB93C71}" srcOrd="6" destOrd="0" presId="urn:microsoft.com/office/officeart/2005/8/layout/hierarchy6"/>
    <dgm:cxn modelId="{539ABFA0-79ED-4ED2-8985-16CA1D7404BC}" type="presParOf" srcId="{023B1C3B-22AD-4D6A-B14F-9F7C01A0C09A}" destId="{002179F9-5CCC-4235-BA71-E6017709DE9E}" srcOrd="7" destOrd="0" presId="urn:microsoft.com/office/officeart/2005/8/layout/hierarchy6"/>
    <dgm:cxn modelId="{7750CC19-66D8-4112-9811-378C480545AB}" type="presParOf" srcId="{002179F9-5CCC-4235-BA71-E6017709DE9E}" destId="{9C774485-74FF-41BF-A922-3BC57F331365}" srcOrd="0" destOrd="0" presId="urn:microsoft.com/office/officeart/2005/8/layout/hierarchy6"/>
    <dgm:cxn modelId="{9D958514-F2C6-4D15-B8E6-C56A57DD2C7B}" type="presParOf" srcId="{002179F9-5CCC-4235-BA71-E6017709DE9E}" destId="{2B69C929-46CF-4274-A9EA-017FEBE1B069}" srcOrd="1" destOrd="0" presId="urn:microsoft.com/office/officeart/2005/8/layout/hierarchy6"/>
    <dgm:cxn modelId="{922AAACC-6918-4978-A6B5-B2EE4F549E8E}" type="presParOf" srcId="{A3BCBE14-36B3-43D7-8D31-D5DA877440A9}" destId="{C950A479-0EB6-41A5-88B4-4BF566C00EA3}" srcOrd="2" destOrd="0" presId="urn:microsoft.com/office/officeart/2005/8/layout/hierarchy6"/>
    <dgm:cxn modelId="{01159F4C-D486-4E47-819F-D5A6A42612A7}" type="presParOf" srcId="{A3BCBE14-36B3-43D7-8D31-D5DA877440A9}" destId="{ECF1DA17-6D02-470D-914F-18B76B4A6462}" srcOrd="3" destOrd="0" presId="urn:microsoft.com/office/officeart/2005/8/layout/hierarchy6"/>
    <dgm:cxn modelId="{D250A7C0-142B-4399-BFD0-95BB3D79EAC6}" type="presParOf" srcId="{ECF1DA17-6D02-470D-914F-18B76B4A6462}" destId="{9976998B-5F74-4238-81FE-9DF932002021}" srcOrd="0" destOrd="0" presId="urn:microsoft.com/office/officeart/2005/8/layout/hierarchy6"/>
    <dgm:cxn modelId="{875907A5-3DAD-4B90-84B0-C44E55121776}" type="presParOf" srcId="{ECF1DA17-6D02-470D-914F-18B76B4A6462}" destId="{1B6DF276-75E4-4144-827A-FF30E4C6C084}" srcOrd="1" destOrd="0" presId="urn:microsoft.com/office/officeart/2005/8/layout/hierarchy6"/>
    <dgm:cxn modelId="{348A61EC-ABD8-467A-8013-C44B466A538E}" type="presParOf" srcId="{1B6DF276-75E4-4144-827A-FF30E4C6C084}" destId="{70A3C057-5949-423F-A85F-D2B079D4D4B1}" srcOrd="0" destOrd="0" presId="urn:microsoft.com/office/officeart/2005/8/layout/hierarchy6"/>
    <dgm:cxn modelId="{C3F7DAE1-1D24-4171-9FC7-868D142538D3}" type="presParOf" srcId="{1B6DF276-75E4-4144-827A-FF30E4C6C084}" destId="{22A558AF-9C71-4C9C-8C3B-EE4A8DE9C4CE}" srcOrd="1" destOrd="0" presId="urn:microsoft.com/office/officeart/2005/8/layout/hierarchy6"/>
    <dgm:cxn modelId="{94435B9D-18E7-4A28-BD18-D9AA3A5327BA}" type="presParOf" srcId="{22A558AF-9C71-4C9C-8C3B-EE4A8DE9C4CE}" destId="{45B58C7B-2F8F-4E80-A5DA-23D84E4DABE3}" srcOrd="0" destOrd="0" presId="urn:microsoft.com/office/officeart/2005/8/layout/hierarchy6"/>
    <dgm:cxn modelId="{96AAD2AE-3A9E-4144-B1D6-A9D9DD18A8F3}" type="presParOf" srcId="{22A558AF-9C71-4C9C-8C3B-EE4A8DE9C4CE}" destId="{5AAC6F33-554A-464F-863C-48C534F4D890}" srcOrd="1" destOrd="0" presId="urn:microsoft.com/office/officeart/2005/8/layout/hierarchy6"/>
    <dgm:cxn modelId="{22647584-17AB-40CD-81ED-40720AEC3CAB}" type="presParOf" srcId="{1B6DF276-75E4-4144-827A-FF30E4C6C084}" destId="{ED670C13-4ADD-44CA-9D66-F0E0A43860CC}" srcOrd="2" destOrd="0" presId="urn:microsoft.com/office/officeart/2005/8/layout/hierarchy6"/>
    <dgm:cxn modelId="{F7ACABF1-A5D1-4BBC-8884-61B331340A93}" type="presParOf" srcId="{1B6DF276-75E4-4144-827A-FF30E4C6C084}" destId="{378F0CA8-9048-4E47-A39B-A0CC05A748A1}" srcOrd="3" destOrd="0" presId="urn:microsoft.com/office/officeart/2005/8/layout/hierarchy6"/>
    <dgm:cxn modelId="{8C27E534-0BA5-40FA-B364-A009246B1571}" type="presParOf" srcId="{378F0CA8-9048-4E47-A39B-A0CC05A748A1}" destId="{D587AC4A-F51E-4C6D-8BFA-941245E20B69}" srcOrd="0" destOrd="0" presId="urn:microsoft.com/office/officeart/2005/8/layout/hierarchy6"/>
    <dgm:cxn modelId="{55524F74-EC54-452D-A151-30CF1BF29479}" type="presParOf" srcId="{378F0CA8-9048-4E47-A39B-A0CC05A748A1}" destId="{DC9F8F07-7F93-443E-9E35-9D23757436E4}" srcOrd="1" destOrd="0" presId="urn:microsoft.com/office/officeart/2005/8/layout/hierarchy6"/>
    <dgm:cxn modelId="{16FD625F-0978-4B1E-A250-35975F5E1647}" type="presParOf" srcId="{1B6DF276-75E4-4144-827A-FF30E4C6C084}" destId="{DCB6E461-FF44-4EDA-AF30-EB89DB9B80DF}" srcOrd="4" destOrd="0" presId="urn:microsoft.com/office/officeart/2005/8/layout/hierarchy6"/>
    <dgm:cxn modelId="{6019002F-78F1-46B8-B8FF-7DDC0416C8C3}" type="presParOf" srcId="{1B6DF276-75E4-4144-827A-FF30E4C6C084}" destId="{EC8BA09A-7049-4D76-9B87-5E5494D86537}" srcOrd="5" destOrd="0" presId="urn:microsoft.com/office/officeart/2005/8/layout/hierarchy6"/>
    <dgm:cxn modelId="{A7296CB6-3E40-45FE-8000-F9FD135AF3E6}" type="presParOf" srcId="{EC8BA09A-7049-4D76-9B87-5E5494D86537}" destId="{E6C1B0F9-EDA3-45C8-8CF3-540E20D77FE0}" srcOrd="0" destOrd="0" presId="urn:microsoft.com/office/officeart/2005/8/layout/hierarchy6"/>
    <dgm:cxn modelId="{22C8ECC9-C359-4A87-B1C5-71E475376731}" type="presParOf" srcId="{EC8BA09A-7049-4D76-9B87-5E5494D86537}" destId="{E12D9959-AF1F-48FA-8F22-646731DB5173}" srcOrd="1" destOrd="0" presId="urn:microsoft.com/office/officeart/2005/8/layout/hierarchy6"/>
    <dgm:cxn modelId="{2406A151-FCF2-4340-ABCE-F652983EB704}" type="presParOf" srcId="{E12D9959-AF1F-48FA-8F22-646731DB5173}" destId="{E10F6EF7-BA34-4DD7-B0CB-6215B1A63FDF}" srcOrd="0" destOrd="0" presId="urn:microsoft.com/office/officeart/2005/8/layout/hierarchy6"/>
    <dgm:cxn modelId="{258C779D-A54F-459D-9B4F-F221A9D4268C}" type="presParOf" srcId="{E12D9959-AF1F-48FA-8F22-646731DB5173}" destId="{218E8D31-E150-4C5A-898D-9CD6D7ECE535}" srcOrd="1" destOrd="0" presId="urn:microsoft.com/office/officeart/2005/8/layout/hierarchy6"/>
    <dgm:cxn modelId="{9703A193-A934-4FB0-A3FA-9BF2F3621F75}" type="presParOf" srcId="{218E8D31-E150-4C5A-898D-9CD6D7ECE535}" destId="{38636472-2FAB-4308-9CE8-9FE29BAEDC7E}" srcOrd="0" destOrd="0" presId="urn:microsoft.com/office/officeart/2005/8/layout/hierarchy6"/>
    <dgm:cxn modelId="{36223471-8479-4297-BB59-FFC02DFE79CF}" type="presParOf" srcId="{218E8D31-E150-4C5A-898D-9CD6D7ECE535}" destId="{2C93EC22-5EB1-4147-ADEE-7D36127BFFD3}" srcOrd="1" destOrd="0" presId="urn:microsoft.com/office/officeart/2005/8/layout/hierarchy6"/>
    <dgm:cxn modelId="{5AAC040E-8A01-460F-9297-2AE3A81692C3}" type="presParOf" srcId="{E12D9959-AF1F-48FA-8F22-646731DB5173}" destId="{D88E10BA-53E6-467C-A7E0-06436D9E61BE}" srcOrd="2" destOrd="0" presId="urn:microsoft.com/office/officeart/2005/8/layout/hierarchy6"/>
    <dgm:cxn modelId="{0D67BBAC-98CD-4579-A312-A6E2BB7393EC}" type="presParOf" srcId="{E12D9959-AF1F-48FA-8F22-646731DB5173}" destId="{C4E8BB8B-EF2E-4F03-9F8E-B25779FF9BCA}" srcOrd="3" destOrd="0" presId="urn:microsoft.com/office/officeart/2005/8/layout/hierarchy6"/>
    <dgm:cxn modelId="{ADF44BA4-2B06-4F27-9620-B45EF07B1DEC}" type="presParOf" srcId="{C4E8BB8B-EF2E-4F03-9F8E-B25779FF9BCA}" destId="{4AFBDA1C-C874-4F01-AF37-C3096FED922E}" srcOrd="0" destOrd="0" presId="urn:microsoft.com/office/officeart/2005/8/layout/hierarchy6"/>
    <dgm:cxn modelId="{52901758-3826-4F94-9DFD-B12CB31FB984}" type="presParOf" srcId="{C4E8BB8B-EF2E-4F03-9F8E-B25779FF9BCA}" destId="{F0B29A47-B437-415C-A1BD-6B7DAE5F2180}" srcOrd="1" destOrd="0" presId="urn:microsoft.com/office/officeart/2005/8/layout/hierarchy6"/>
    <dgm:cxn modelId="{D96452B4-39B2-416F-B219-11C4102F8B4C}" type="presParOf" srcId="{E12D9959-AF1F-48FA-8F22-646731DB5173}" destId="{72EBBE43-285A-47BC-9CD8-6D2E6113B1E2}" srcOrd="4" destOrd="0" presId="urn:microsoft.com/office/officeart/2005/8/layout/hierarchy6"/>
    <dgm:cxn modelId="{BDD26A12-BB58-42FE-B325-1E26DEE875E3}" type="presParOf" srcId="{E12D9959-AF1F-48FA-8F22-646731DB5173}" destId="{96951545-B1FB-4A7A-81C3-65FBE31D13BD}" srcOrd="5" destOrd="0" presId="urn:microsoft.com/office/officeart/2005/8/layout/hierarchy6"/>
    <dgm:cxn modelId="{AD19E8C6-E8F7-4D57-A766-EBCA9CEE5427}" type="presParOf" srcId="{96951545-B1FB-4A7A-81C3-65FBE31D13BD}" destId="{0A8C54FF-7D2E-46A8-BA71-B84296E5E964}" srcOrd="0" destOrd="0" presId="urn:microsoft.com/office/officeart/2005/8/layout/hierarchy6"/>
    <dgm:cxn modelId="{2A1C5230-CFC0-41C6-9D4A-F13A4DCB9B8E}" type="presParOf" srcId="{96951545-B1FB-4A7A-81C3-65FBE31D13BD}" destId="{AF8BBE8F-F37C-4A6D-90EE-1D66213AC75A}" srcOrd="1" destOrd="0" presId="urn:microsoft.com/office/officeart/2005/8/layout/hierarchy6"/>
    <dgm:cxn modelId="{F3FE72FA-42E5-4141-A3AF-1E1BF11D5D5F}" type="presParOf" srcId="{AF8BBE8F-F37C-4A6D-90EE-1D66213AC75A}" destId="{F291E371-CD14-403D-A723-65A03D12A7FF}" srcOrd="0" destOrd="0" presId="urn:microsoft.com/office/officeart/2005/8/layout/hierarchy6"/>
    <dgm:cxn modelId="{DB627595-7CC5-4684-951D-B1984F38D954}" type="presParOf" srcId="{AF8BBE8F-F37C-4A6D-90EE-1D66213AC75A}" destId="{93697330-7A91-456D-96F4-7D194A5B2B24}" srcOrd="1" destOrd="0" presId="urn:microsoft.com/office/officeart/2005/8/layout/hierarchy6"/>
    <dgm:cxn modelId="{2A242F2B-6C72-41D1-A469-F40193537FEE}" type="presParOf" srcId="{93697330-7A91-456D-96F4-7D194A5B2B24}" destId="{393D0264-7D93-463D-91A9-934FC57FFF7F}" srcOrd="0" destOrd="0" presId="urn:microsoft.com/office/officeart/2005/8/layout/hierarchy6"/>
    <dgm:cxn modelId="{A2AD2740-4D18-4D15-8AC8-589762944D1A}" type="presParOf" srcId="{93697330-7A91-456D-96F4-7D194A5B2B24}" destId="{11A76D09-0D09-4127-ABB3-69400B83464C}" srcOrd="1" destOrd="0" presId="urn:microsoft.com/office/officeart/2005/8/layout/hierarchy6"/>
    <dgm:cxn modelId="{ED301B6F-23A4-4C6B-9A4D-5E94DEF204F9}" type="presParOf" srcId="{A3BCBE14-36B3-43D7-8D31-D5DA877440A9}" destId="{0A2B502C-2983-4F3C-80EA-EFB6C1B8D582}" srcOrd="4" destOrd="0" presId="urn:microsoft.com/office/officeart/2005/8/layout/hierarchy6"/>
    <dgm:cxn modelId="{6EFA51E1-BBA3-4DA8-A78B-B23C8DF456A6}" type="presParOf" srcId="{A3BCBE14-36B3-43D7-8D31-D5DA877440A9}" destId="{372B1458-3965-4AA4-AF78-D649C75CB170}" srcOrd="5" destOrd="0" presId="urn:microsoft.com/office/officeart/2005/8/layout/hierarchy6"/>
    <dgm:cxn modelId="{8659FABA-7682-4DF8-A23B-6C5C73F77513}" type="presParOf" srcId="{372B1458-3965-4AA4-AF78-D649C75CB170}" destId="{00AB41C9-6D2A-4640-86FB-7C5B89DA0554}" srcOrd="0" destOrd="0" presId="urn:microsoft.com/office/officeart/2005/8/layout/hierarchy6"/>
    <dgm:cxn modelId="{CEBC442B-5577-4639-AD7D-865FFE59CE27}" type="presParOf" srcId="{372B1458-3965-4AA4-AF78-D649C75CB170}" destId="{8EB01700-1C58-4437-BF1B-2650534515E4}" srcOrd="1" destOrd="0" presId="urn:microsoft.com/office/officeart/2005/8/layout/hierarchy6"/>
    <dgm:cxn modelId="{5E8ED4D4-CAF3-4BE6-8DBA-ABC77A6B0684}" type="presParOf" srcId="{BD2EEC77-DE7D-4CA6-9280-0184BF505BD2}" destId="{9D735DF0-8CAC-402F-B50B-440C630377AF}" srcOrd="1" destOrd="0" presId="urn:microsoft.com/office/officeart/2005/8/layout/hierarchy6"/>
    <dgm:cxn modelId="{B41DC2FF-D20A-40B6-9BDB-57A4E1A15271}" type="presParOf" srcId="{9D735DF0-8CAC-402F-B50B-440C630377AF}" destId="{235A0773-7E47-46E6-9210-5439C784413C}" srcOrd="0" destOrd="0" presId="urn:microsoft.com/office/officeart/2005/8/layout/hierarchy6"/>
    <dgm:cxn modelId="{442434B2-7082-4E43-8845-546FC5DF3E31}" type="presParOf" srcId="{235A0773-7E47-46E6-9210-5439C784413C}" destId="{789920EF-67C2-44D1-9100-51B6F3F7EB7C}" srcOrd="0" destOrd="0" presId="urn:microsoft.com/office/officeart/2005/8/layout/hierarchy6"/>
    <dgm:cxn modelId="{03F55D58-1B15-4F33-8B8C-42ADCFF2664E}" type="presParOf" srcId="{235A0773-7E47-46E6-9210-5439C784413C}" destId="{C06B3BEE-0D0D-407E-8167-C0A94A3F6898}" srcOrd="1" destOrd="0" presId="urn:microsoft.com/office/officeart/2005/8/layout/hierarchy6"/>
    <dgm:cxn modelId="{EB3042C6-0AF5-4137-B0D6-083BAD936C54}" type="presParOf" srcId="{9D735DF0-8CAC-402F-B50B-440C630377AF}" destId="{C622D8B6-F623-48F6-A34A-CB105A79FA63}" srcOrd="1" destOrd="0" presId="urn:microsoft.com/office/officeart/2005/8/layout/hierarchy6"/>
    <dgm:cxn modelId="{0068304B-75CE-418E-A018-7F8BBA893C87}" type="presParOf" srcId="{C622D8B6-F623-48F6-A34A-CB105A79FA63}" destId="{0C832FD4-4B77-4989-AD70-35AF72E97E37}" srcOrd="0" destOrd="0" presId="urn:microsoft.com/office/officeart/2005/8/layout/hierarchy6"/>
    <dgm:cxn modelId="{B0CD71B0-71B1-40C1-A28E-B145CAF2E139}" type="presParOf" srcId="{9D735DF0-8CAC-402F-B50B-440C630377AF}" destId="{22CFF7D7-B687-462E-B912-C05ACDF03826}" srcOrd="2" destOrd="0" presId="urn:microsoft.com/office/officeart/2005/8/layout/hierarchy6"/>
    <dgm:cxn modelId="{1AC6D73D-6D35-4049-A44F-C78194923364}" type="presParOf" srcId="{22CFF7D7-B687-462E-B912-C05ACDF03826}" destId="{68233D1F-A65A-4786-B45D-09F14ABA5279}" srcOrd="0" destOrd="0" presId="urn:microsoft.com/office/officeart/2005/8/layout/hierarchy6"/>
    <dgm:cxn modelId="{C835C1CA-6596-4335-ABE3-3D5A06B8A9B1}" type="presParOf" srcId="{22CFF7D7-B687-462E-B912-C05ACDF03826}" destId="{0699492C-BF87-4F7F-B00B-DBDFC359C84D}"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CF2201B-9128-4080-993D-FBFD4DEDDE22}"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B09E0A40-D6AF-4185-B540-28D7B5A1B4F0}">
      <dgm:prSet phldrT="[Text]" phldr="1"/>
      <dgm:spPr>
        <a:solidFill>
          <a:schemeClr val="bg1">
            <a:lumMod val="75000"/>
          </a:schemeClr>
        </a:solidFill>
      </dgm:spPr>
      <dgm:t>
        <a:bodyPr/>
        <a:lstStyle/>
        <a:p>
          <a:endParaRPr lang="en-US" dirty="0">
            <a:solidFill>
              <a:schemeClr val="bg1">
                <a:lumMod val="75000"/>
              </a:schemeClr>
            </a:solidFill>
          </a:endParaRPr>
        </a:p>
      </dgm:t>
    </dgm:pt>
    <dgm:pt modelId="{54F326FF-69B4-4E01-95F0-E95678598FC4}" type="parTrans" cxnId="{705CDC67-2E56-4382-8170-FAE3658C05AA}">
      <dgm:prSet/>
      <dgm:spPr/>
      <dgm:t>
        <a:bodyPr/>
        <a:lstStyle/>
        <a:p>
          <a:endParaRPr lang="en-US"/>
        </a:p>
      </dgm:t>
    </dgm:pt>
    <dgm:pt modelId="{F9B817DE-019C-4472-BBFC-0FADBAA561CD}" type="sibTrans" cxnId="{705CDC67-2E56-4382-8170-FAE3658C05AA}">
      <dgm:prSet/>
      <dgm:spPr/>
      <dgm:t>
        <a:bodyPr/>
        <a:lstStyle/>
        <a:p>
          <a:endParaRPr lang="en-US"/>
        </a:p>
      </dgm:t>
    </dgm:pt>
    <dgm:pt modelId="{12B6E7F5-0909-4C20-8778-EA30F055358F}">
      <dgm:prSet phldrT="[Text]" phldr="1"/>
      <dgm:spPr>
        <a:solidFill>
          <a:schemeClr val="bg1">
            <a:lumMod val="75000"/>
          </a:schemeClr>
        </a:solidFill>
      </dgm:spPr>
      <dgm:t>
        <a:bodyPr/>
        <a:lstStyle/>
        <a:p>
          <a:endParaRPr lang="en-US" dirty="0">
            <a:solidFill>
              <a:schemeClr val="bg1">
                <a:lumMod val="75000"/>
              </a:schemeClr>
            </a:solidFill>
          </a:endParaRPr>
        </a:p>
      </dgm:t>
    </dgm:pt>
    <dgm:pt modelId="{E89E5B37-3E11-4287-88B2-1E495CA8AC75}" type="parTrans" cxnId="{99E725FA-BA8B-49A6-831D-648C7183240F}">
      <dgm:prSet/>
      <dgm:spPr>
        <a:ln>
          <a:solidFill>
            <a:schemeClr val="tx2"/>
          </a:solidFill>
        </a:ln>
      </dgm:spPr>
      <dgm:t>
        <a:bodyPr/>
        <a:lstStyle/>
        <a:p>
          <a:endParaRPr lang="en-US"/>
        </a:p>
      </dgm:t>
    </dgm:pt>
    <dgm:pt modelId="{08C45D4B-80BC-46E0-9DBE-9796462FA4FE}" type="sibTrans" cxnId="{99E725FA-BA8B-49A6-831D-648C7183240F}">
      <dgm:prSet/>
      <dgm:spPr/>
      <dgm:t>
        <a:bodyPr/>
        <a:lstStyle/>
        <a:p>
          <a:endParaRPr lang="en-US"/>
        </a:p>
      </dgm:t>
    </dgm:pt>
    <dgm:pt modelId="{ADAD80FB-A96F-4D1C-82A8-67886D3CF038}">
      <dgm:prSet phldrT="[Text]" phldr="1"/>
      <dgm:spPr>
        <a:solidFill>
          <a:schemeClr val="bg1">
            <a:lumMod val="75000"/>
          </a:schemeClr>
        </a:solidFill>
      </dgm:spPr>
      <dgm:t>
        <a:bodyPr/>
        <a:lstStyle/>
        <a:p>
          <a:endParaRPr lang="en-US" dirty="0">
            <a:solidFill>
              <a:schemeClr val="bg1">
                <a:lumMod val="75000"/>
              </a:schemeClr>
            </a:solidFill>
          </a:endParaRPr>
        </a:p>
      </dgm:t>
    </dgm:pt>
    <dgm:pt modelId="{B5E327B7-D508-4BE9-A0DD-E32CD0165489}" type="parTrans" cxnId="{24F826C0-EDD0-4E4A-A3B4-5344D7F4FDA2}">
      <dgm:prSet/>
      <dgm:spPr>
        <a:ln>
          <a:solidFill>
            <a:schemeClr val="bg1"/>
          </a:solidFill>
        </a:ln>
      </dgm:spPr>
      <dgm:t>
        <a:bodyPr/>
        <a:lstStyle/>
        <a:p>
          <a:endParaRPr lang="en-US"/>
        </a:p>
      </dgm:t>
    </dgm:pt>
    <dgm:pt modelId="{2C241AD4-C608-4D86-A7C0-348887860949}" type="sibTrans" cxnId="{24F826C0-EDD0-4E4A-A3B4-5344D7F4FDA2}">
      <dgm:prSet/>
      <dgm:spPr/>
      <dgm:t>
        <a:bodyPr/>
        <a:lstStyle/>
        <a:p>
          <a:endParaRPr lang="en-US"/>
        </a:p>
      </dgm:t>
    </dgm:pt>
    <dgm:pt modelId="{4AD880C2-B9A8-4B0B-AFAD-0320E20EE1A7}">
      <dgm:prSet phldrT="[Text]" phldr="1"/>
      <dgm:spPr>
        <a:solidFill>
          <a:schemeClr val="bg1">
            <a:lumMod val="75000"/>
          </a:schemeClr>
        </a:solidFill>
      </dgm:spPr>
      <dgm:t>
        <a:bodyPr/>
        <a:lstStyle/>
        <a:p>
          <a:endParaRPr lang="en-US" dirty="0">
            <a:solidFill>
              <a:schemeClr val="bg1">
                <a:lumMod val="75000"/>
              </a:schemeClr>
            </a:solidFill>
          </a:endParaRPr>
        </a:p>
      </dgm:t>
    </dgm:pt>
    <dgm:pt modelId="{6AB071D2-EEFF-4DA2-AFD5-4BB481E355B0}" type="parTrans" cxnId="{7A25F391-4E5D-4583-893F-57B029A1B2F9}">
      <dgm:prSet/>
      <dgm:spPr/>
      <dgm:t>
        <a:bodyPr/>
        <a:lstStyle/>
        <a:p>
          <a:endParaRPr lang="en-US"/>
        </a:p>
      </dgm:t>
    </dgm:pt>
    <dgm:pt modelId="{FA762935-1829-4263-B965-671F157FF0A9}" type="sibTrans" cxnId="{7A25F391-4E5D-4583-893F-57B029A1B2F9}">
      <dgm:prSet/>
      <dgm:spPr/>
      <dgm:t>
        <a:bodyPr/>
        <a:lstStyle/>
        <a:p>
          <a:endParaRPr lang="en-US"/>
        </a:p>
      </dgm:t>
    </dgm:pt>
    <dgm:pt modelId="{330180EF-8144-4C33-B487-F38BFB0A1C20}">
      <dgm:prSet phldrT="[Text]" phldr="1"/>
      <dgm:spPr>
        <a:solidFill>
          <a:schemeClr val="bg1">
            <a:lumMod val="75000"/>
          </a:schemeClr>
        </a:solidFill>
      </dgm:spPr>
      <dgm:t>
        <a:bodyPr/>
        <a:lstStyle/>
        <a:p>
          <a:endParaRPr lang="en-US" dirty="0">
            <a:solidFill>
              <a:schemeClr val="bg1">
                <a:lumMod val="75000"/>
              </a:schemeClr>
            </a:solidFill>
          </a:endParaRPr>
        </a:p>
      </dgm:t>
    </dgm:pt>
    <dgm:pt modelId="{0DFB3F4B-E313-49EF-9AC2-29FADBFC6365}" type="parTrans" cxnId="{A3645039-ED85-43E8-8859-DEAC5DCF2A03}">
      <dgm:prSet/>
      <dgm:spPr>
        <a:ln>
          <a:solidFill>
            <a:schemeClr val="bg1"/>
          </a:solidFill>
        </a:ln>
      </dgm:spPr>
      <dgm:t>
        <a:bodyPr/>
        <a:lstStyle/>
        <a:p>
          <a:endParaRPr lang="en-US"/>
        </a:p>
      </dgm:t>
    </dgm:pt>
    <dgm:pt modelId="{6798623E-8064-4BED-8652-29932255EB9B}" type="sibTrans" cxnId="{A3645039-ED85-43E8-8859-DEAC5DCF2A03}">
      <dgm:prSet/>
      <dgm:spPr/>
      <dgm:t>
        <a:bodyPr/>
        <a:lstStyle/>
        <a:p>
          <a:endParaRPr lang="en-US"/>
        </a:p>
      </dgm:t>
    </dgm:pt>
    <dgm:pt modelId="{775216D1-1FFF-4E4A-A842-2675F899B02F}">
      <dgm:prSet phldrT="[Text]" custT="1"/>
      <dgm:spPr>
        <a:solidFill>
          <a:srgbClr val="0080C0"/>
        </a:solidFill>
        <a:effectLst>
          <a:outerShdw blurRad="76200" dir="13500000" sy="23000" kx="1200000" algn="br" rotWithShape="0">
            <a:prstClr val="black">
              <a:alpha val="20000"/>
            </a:prstClr>
          </a:outerShdw>
        </a:effectLst>
      </dgm:spPr>
      <dgm:t>
        <a:bodyPr/>
        <a:lstStyle/>
        <a:p>
          <a:endParaRPr lang="en-US" sz="3200" b="1" dirty="0">
            <a:solidFill>
              <a:schemeClr val="bg1"/>
            </a:solidFill>
          </a:endParaRPr>
        </a:p>
      </dgm:t>
    </dgm:pt>
    <dgm:pt modelId="{48B08855-F728-4483-85C1-680892AACD4E}" type="parTrans" cxnId="{943B9D92-FAF5-4B5B-AA5C-445E7B65AF10}">
      <dgm:prSet/>
      <dgm:spPr/>
      <dgm:t>
        <a:bodyPr/>
        <a:lstStyle/>
        <a:p>
          <a:endParaRPr lang="en-US"/>
        </a:p>
      </dgm:t>
    </dgm:pt>
    <dgm:pt modelId="{9E3472AC-805A-4510-8222-9A3901539D2E}" type="sibTrans" cxnId="{943B9D92-FAF5-4B5B-AA5C-445E7B65AF10}">
      <dgm:prSet/>
      <dgm:spPr/>
      <dgm:t>
        <a:bodyPr/>
        <a:lstStyle/>
        <a:p>
          <a:endParaRPr lang="en-US"/>
        </a:p>
      </dgm:t>
    </dgm:pt>
    <dgm:pt modelId="{5DC38E05-E2DE-426D-819A-D87773D74234}">
      <dgm:prSet phldrT="[Text]"/>
      <dgm:spPr>
        <a:solidFill>
          <a:srgbClr val="92D050"/>
        </a:solidFill>
        <a:ln>
          <a:solidFill>
            <a:schemeClr val="bg1"/>
          </a:solidFill>
        </a:ln>
        <a:effectLst>
          <a:outerShdw blurRad="76200" dir="13500000" sy="23000" kx="1200000" algn="br" rotWithShape="0">
            <a:prstClr val="black">
              <a:alpha val="20000"/>
            </a:prstClr>
          </a:outerShdw>
        </a:effectLst>
      </dgm:spPr>
      <dgm:t>
        <a:bodyPr/>
        <a:lstStyle/>
        <a:p>
          <a:r>
            <a:rPr lang="en-US" b="1" dirty="0">
              <a:solidFill>
                <a:schemeClr val="bg1"/>
              </a:solidFill>
            </a:rPr>
            <a:t>Others</a:t>
          </a:r>
        </a:p>
      </dgm:t>
    </dgm:pt>
    <dgm:pt modelId="{28F32A50-97AE-42D2-958B-81C89A4CD181}" type="parTrans" cxnId="{860E41C5-1014-4219-972C-6CE63CD4AA9B}">
      <dgm:prSet/>
      <dgm:spPr/>
      <dgm:t>
        <a:bodyPr/>
        <a:lstStyle/>
        <a:p>
          <a:endParaRPr lang="en-US"/>
        </a:p>
      </dgm:t>
    </dgm:pt>
    <dgm:pt modelId="{16E3A76C-6C62-49E5-BCA6-B75A564F2F75}" type="sibTrans" cxnId="{860E41C5-1014-4219-972C-6CE63CD4AA9B}">
      <dgm:prSet/>
      <dgm:spPr/>
      <dgm:t>
        <a:bodyPr/>
        <a:lstStyle/>
        <a:p>
          <a:endParaRPr lang="en-US"/>
        </a:p>
      </dgm:t>
    </dgm:pt>
    <dgm:pt modelId="{32FC6B7A-1C08-4DD4-BD18-D5117725D199}">
      <dgm:prSet phldrT="[Text]"/>
      <dgm:spPr>
        <a:solidFill>
          <a:schemeClr val="bg1">
            <a:lumMod val="75000"/>
          </a:schemeClr>
        </a:solidFill>
      </dgm:spPr>
      <dgm:t>
        <a:bodyPr/>
        <a:lstStyle/>
        <a:p>
          <a:endParaRPr lang="en-US" dirty="0"/>
        </a:p>
      </dgm:t>
    </dgm:pt>
    <dgm:pt modelId="{C85F30E1-63B7-426E-94EF-66FA5DD6655A}" type="parTrans" cxnId="{6D7DC8F3-C9B3-42CF-8ECC-0757E73B34DC}">
      <dgm:prSet/>
      <dgm:spPr>
        <a:ln>
          <a:solidFill>
            <a:schemeClr val="bg1"/>
          </a:solidFill>
        </a:ln>
      </dgm:spPr>
      <dgm:t>
        <a:bodyPr/>
        <a:lstStyle/>
        <a:p>
          <a:endParaRPr lang="en-US"/>
        </a:p>
      </dgm:t>
    </dgm:pt>
    <dgm:pt modelId="{7BA1BBDD-8C85-455C-8F6A-8CECA4A35159}" type="sibTrans" cxnId="{6D7DC8F3-C9B3-42CF-8ECC-0757E73B34DC}">
      <dgm:prSet/>
      <dgm:spPr/>
      <dgm:t>
        <a:bodyPr/>
        <a:lstStyle/>
        <a:p>
          <a:endParaRPr lang="en-US"/>
        </a:p>
      </dgm:t>
    </dgm:pt>
    <dgm:pt modelId="{1E60154E-2D5A-4CF7-8659-5BFDDC81FBB5}">
      <dgm:prSet phldrT="[Text]"/>
      <dgm:spPr>
        <a:solidFill>
          <a:schemeClr val="bg1">
            <a:lumMod val="75000"/>
          </a:schemeClr>
        </a:solidFill>
      </dgm:spPr>
      <dgm:t>
        <a:bodyPr/>
        <a:lstStyle/>
        <a:p>
          <a:endParaRPr lang="en-US" dirty="0"/>
        </a:p>
      </dgm:t>
    </dgm:pt>
    <dgm:pt modelId="{DEBAF3EE-B239-486B-A34D-40871CB52EFE}" type="parTrans" cxnId="{274322A1-4430-4BE6-BC76-0CCB101404AD}">
      <dgm:prSet/>
      <dgm:spPr>
        <a:ln>
          <a:solidFill>
            <a:schemeClr val="bg1"/>
          </a:solidFill>
        </a:ln>
      </dgm:spPr>
      <dgm:t>
        <a:bodyPr/>
        <a:lstStyle/>
        <a:p>
          <a:endParaRPr lang="en-US"/>
        </a:p>
      </dgm:t>
    </dgm:pt>
    <dgm:pt modelId="{73DA71DF-9A4A-4835-917B-42A741005BF0}" type="sibTrans" cxnId="{274322A1-4430-4BE6-BC76-0CCB101404AD}">
      <dgm:prSet/>
      <dgm:spPr/>
      <dgm:t>
        <a:bodyPr/>
        <a:lstStyle/>
        <a:p>
          <a:endParaRPr lang="en-US"/>
        </a:p>
      </dgm:t>
    </dgm:pt>
    <dgm:pt modelId="{28975F10-5FB2-4FFF-84FC-D4B1D1E60598}">
      <dgm:prSet phldrT="[Text]"/>
      <dgm:spPr>
        <a:solidFill>
          <a:schemeClr val="bg1">
            <a:lumMod val="75000"/>
          </a:schemeClr>
        </a:solidFill>
      </dgm:spPr>
      <dgm:t>
        <a:bodyPr/>
        <a:lstStyle/>
        <a:p>
          <a:endParaRPr lang="en-US" dirty="0"/>
        </a:p>
      </dgm:t>
    </dgm:pt>
    <dgm:pt modelId="{8EC84C35-CBC1-41B7-A046-145358D35EFA}" type="parTrans" cxnId="{4ED31C5E-1F46-496D-88E3-A8383BD27625}">
      <dgm:prSet/>
      <dgm:spPr/>
      <dgm:t>
        <a:bodyPr/>
        <a:lstStyle/>
        <a:p>
          <a:endParaRPr lang="en-US"/>
        </a:p>
      </dgm:t>
    </dgm:pt>
    <dgm:pt modelId="{FB7AA234-BE4E-4C3B-8AA5-FF44502398D9}" type="sibTrans" cxnId="{4ED31C5E-1F46-496D-88E3-A8383BD27625}">
      <dgm:prSet/>
      <dgm:spPr/>
      <dgm:t>
        <a:bodyPr/>
        <a:lstStyle/>
        <a:p>
          <a:endParaRPr lang="en-US"/>
        </a:p>
      </dgm:t>
    </dgm:pt>
    <dgm:pt modelId="{A0D05C7C-215A-4A4F-89FE-ADC58DC4D2B6}">
      <dgm:prSet/>
      <dgm:spPr>
        <a:solidFill>
          <a:schemeClr val="bg1">
            <a:lumMod val="75000"/>
          </a:schemeClr>
        </a:solidFill>
      </dgm:spPr>
      <dgm:t>
        <a:bodyPr/>
        <a:lstStyle/>
        <a:p>
          <a:endParaRPr lang="en-US" dirty="0"/>
        </a:p>
      </dgm:t>
    </dgm:pt>
    <dgm:pt modelId="{A2E97256-F515-4B32-A735-5C6006508A81}" type="parTrans" cxnId="{10B8D8BA-FF43-4626-9C4B-AD52523C7BEF}">
      <dgm:prSet/>
      <dgm:spPr>
        <a:ln>
          <a:solidFill>
            <a:schemeClr val="bg1"/>
          </a:solidFill>
        </a:ln>
      </dgm:spPr>
      <dgm:t>
        <a:bodyPr/>
        <a:lstStyle/>
        <a:p>
          <a:endParaRPr lang="en-US"/>
        </a:p>
      </dgm:t>
    </dgm:pt>
    <dgm:pt modelId="{F721AE55-1988-43D2-90CF-ADAD8245087F}" type="sibTrans" cxnId="{10B8D8BA-FF43-4626-9C4B-AD52523C7BEF}">
      <dgm:prSet/>
      <dgm:spPr/>
      <dgm:t>
        <a:bodyPr/>
        <a:lstStyle/>
        <a:p>
          <a:endParaRPr lang="en-US"/>
        </a:p>
      </dgm:t>
    </dgm:pt>
    <dgm:pt modelId="{AACDF00E-B4E5-42B3-B8B8-29E94DFB8118}">
      <dgm:prSet/>
      <dgm:spPr>
        <a:solidFill>
          <a:schemeClr val="bg1">
            <a:lumMod val="75000"/>
          </a:schemeClr>
        </a:solidFill>
      </dgm:spPr>
      <dgm:t>
        <a:bodyPr/>
        <a:lstStyle/>
        <a:p>
          <a:endParaRPr lang="en-US" dirty="0"/>
        </a:p>
      </dgm:t>
    </dgm:pt>
    <dgm:pt modelId="{63A7ABD2-1ED5-4252-A23B-5F870F5F08DD}" type="parTrans" cxnId="{E2379AE3-C2ED-47D5-A41F-19DACCA04BBC}">
      <dgm:prSet/>
      <dgm:spPr>
        <a:ln>
          <a:solidFill>
            <a:schemeClr val="bg1"/>
          </a:solidFill>
        </a:ln>
      </dgm:spPr>
      <dgm:t>
        <a:bodyPr/>
        <a:lstStyle/>
        <a:p>
          <a:endParaRPr lang="en-US"/>
        </a:p>
      </dgm:t>
    </dgm:pt>
    <dgm:pt modelId="{404869FB-ABD8-4745-9DCC-988F18DE4ECA}" type="sibTrans" cxnId="{E2379AE3-C2ED-47D5-A41F-19DACCA04BBC}">
      <dgm:prSet/>
      <dgm:spPr/>
      <dgm:t>
        <a:bodyPr/>
        <a:lstStyle/>
        <a:p>
          <a:endParaRPr lang="en-US"/>
        </a:p>
      </dgm:t>
    </dgm:pt>
    <dgm:pt modelId="{8DADA950-EC46-45BB-A8CF-95AD40D99561}">
      <dgm:prSet/>
      <dgm:spPr>
        <a:solidFill>
          <a:schemeClr val="bg1">
            <a:lumMod val="75000"/>
          </a:schemeClr>
        </a:solidFill>
      </dgm:spPr>
      <dgm:t>
        <a:bodyPr/>
        <a:lstStyle/>
        <a:p>
          <a:endParaRPr lang="en-US" dirty="0"/>
        </a:p>
      </dgm:t>
    </dgm:pt>
    <dgm:pt modelId="{C6D1E41C-F5D8-446F-BA19-CFF2C55BEDAC}" type="parTrans" cxnId="{CE4467C2-0A46-4533-B866-264E3C570202}">
      <dgm:prSet/>
      <dgm:spPr>
        <a:ln>
          <a:solidFill>
            <a:schemeClr val="bg1"/>
          </a:solidFill>
        </a:ln>
      </dgm:spPr>
      <dgm:t>
        <a:bodyPr/>
        <a:lstStyle/>
        <a:p>
          <a:endParaRPr lang="en-US"/>
        </a:p>
      </dgm:t>
    </dgm:pt>
    <dgm:pt modelId="{C15EC2A2-64AD-41A3-9431-AD99BA92C0A6}" type="sibTrans" cxnId="{CE4467C2-0A46-4533-B866-264E3C570202}">
      <dgm:prSet/>
      <dgm:spPr/>
      <dgm:t>
        <a:bodyPr/>
        <a:lstStyle/>
        <a:p>
          <a:endParaRPr lang="en-US"/>
        </a:p>
      </dgm:t>
    </dgm:pt>
    <dgm:pt modelId="{924C3E04-4048-449A-BD22-73391AEA3F86}">
      <dgm:prSet/>
      <dgm:spPr>
        <a:solidFill>
          <a:schemeClr val="bg1">
            <a:lumMod val="75000"/>
          </a:schemeClr>
        </a:solidFill>
      </dgm:spPr>
      <dgm:t>
        <a:bodyPr/>
        <a:lstStyle/>
        <a:p>
          <a:endParaRPr lang="en-US" dirty="0"/>
        </a:p>
      </dgm:t>
    </dgm:pt>
    <dgm:pt modelId="{0FEB750B-CB0B-4507-BBBE-79E7E6BED819}" type="parTrans" cxnId="{53500CF4-0AB0-4E30-AA28-2D515DC9BB6B}">
      <dgm:prSet/>
      <dgm:spPr/>
      <dgm:t>
        <a:bodyPr/>
        <a:lstStyle/>
        <a:p>
          <a:endParaRPr lang="en-US"/>
        </a:p>
      </dgm:t>
    </dgm:pt>
    <dgm:pt modelId="{22BA2ED5-4DAA-44E8-B6D6-E5AD5972BA25}" type="sibTrans" cxnId="{53500CF4-0AB0-4E30-AA28-2D515DC9BB6B}">
      <dgm:prSet/>
      <dgm:spPr/>
      <dgm:t>
        <a:bodyPr/>
        <a:lstStyle/>
        <a:p>
          <a:endParaRPr lang="en-US"/>
        </a:p>
      </dgm:t>
    </dgm:pt>
    <dgm:pt modelId="{8D6AE135-7DC5-4395-A6E4-29F3CA947789}">
      <dgm:prSet/>
      <dgm:spPr>
        <a:solidFill>
          <a:schemeClr val="bg1">
            <a:lumMod val="75000"/>
          </a:schemeClr>
        </a:solidFill>
      </dgm:spPr>
      <dgm:t>
        <a:bodyPr/>
        <a:lstStyle/>
        <a:p>
          <a:endParaRPr lang="en-US" dirty="0"/>
        </a:p>
        <a:p>
          <a:endParaRPr lang="en-US" dirty="0"/>
        </a:p>
      </dgm:t>
    </dgm:pt>
    <dgm:pt modelId="{0C8CB1FD-17CE-429D-BD81-310A6CA6AD75}" type="parTrans" cxnId="{00D511FD-C70F-4F9E-96D5-3D607C2EA374}">
      <dgm:prSet/>
      <dgm:spPr>
        <a:ln>
          <a:solidFill>
            <a:schemeClr val="bg1"/>
          </a:solidFill>
        </a:ln>
      </dgm:spPr>
      <dgm:t>
        <a:bodyPr/>
        <a:lstStyle/>
        <a:p>
          <a:endParaRPr lang="en-US"/>
        </a:p>
      </dgm:t>
    </dgm:pt>
    <dgm:pt modelId="{084AAF75-E581-4A26-8179-5FC22659AEDC}" type="sibTrans" cxnId="{00D511FD-C70F-4F9E-96D5-3D607C2EA374}">
      <dgm:prSet/>
      <dgm:spPr/>
      <dgm:t>
        <a:bodyPr/>
        <a:lstStyle/>
        <a:p>
          <a:endParaRPr lang="en-US"/>
        </a:p>
      </dgm:t>
    </dgm:pt>
    <dgm:pt modelId="{ED912239-B53B-4008-9260-3955A881FC2A}">
      <dgm:prSet/>
      <dgm:spPr>
        <a:solidFill>
          <a:schemeClr val="bg1">
            <a:lumMod val="75000"/>
          </a:schemeClr>
        </a:solidFill>
      </dgm:spPr>
      <dgm:t>
        <a:bodyPr/>
        <a:lstStyle/>
        <a:p>
          <a:endParaRPr lang="en-US" dirty="0"/>
        </a:p>
      </dgm:t>
    </dgm:pt>
    <dgm:pt modelId="{88CD46BD-F712-42A8-B55E-1EEE8C7311BD}" type="parTrans" cxnId="{F797F9CD-3B95-4954-8A2C-75616BCF72B4}">
      <dgm:prSet/>
      <dgm:spPr>
        <a:ln>
          <a:solidFill>
            <a:schemeClr val="bg1"/>
          </a:solidFill>
        </a:ln>
      </dgm:spPr>
      <dgm:t>
        <a:bodyPr/>
        <a:lstStyle/>
        <a:p>
          <a:endParaRPr lang="en-US"/>
        </a:p>
      </dgm:t>
    </dgm:pt>
    <dgm:pt modelId="{BB247ABD-D5F7-4EF1-8460-095905C6DCBE}" type="sibTrans" cxnId="{F797F9CD-3B95-4954-8A2C-75616BCF72B4}">
      <dgm:prSet/>
      <dgm:spPr/>
      <dgm:t>
        <a:bodyPr/>
        <a:lstStyle/>
        <a:p>
          <a:endParaRPr lang="en-US"/>
        </a:p>
      </dgm:t>
    </dgm:pt>
    <dgm:pt modelId="{90D01477-9C59-4A9F-960B-4BC90EEC7FEC}">
      <dgm:prSet/>
      <dgm:spPr>
        <a:solidFill>
          <a:schemeClr val="bg1">
            <a:lumMod val="75000"/>
          </a:schemeClr>
        </a:solidFill>
      </dgm:spPr>
      <dgm:t>
        <a:bodyPr/>
        <a:lstStyle/>
        <a:p>
          <a:endParaRPr lang="en-US" dirty="0"/>
        </a:p>
      </dgm:t>
    </dgm:pt>
    <dgm:pt modelId="{8F9EB798-50F5-48D6-B950-67DB8D2C79B7}" type="parTrans" cxnId="{E9CF8B23-D84B-490F-BAAB-0DCD0B26257F}">
      <dgm:prSet/>
      <dgm:spPr/>
      <dgm:t>
        <a:bodyPr/>
        <a:lstStyle/>
        <a:p>
          <a:endParaRPr lang="en-US"/>
        </a:p>
      </dgm:t>
    </dgm:pt>
    <dgm:pt modelId="{91F8361B-569F-4B59-8188-F5C6758DBDAA}" type="sibTrans" cxnId="{E9CF8B23-D84B-490F-BAAB-0DCD0B26257F}">
      <dgm:prSet/>
      <dgm:spPr/>
      <dgm:t>
        <a:bodyPr/>
        <a:lstStyle/>
        <a:p>
          <a:endParaRPr lang="en-US"/>
        </a:p>
      </dgm:t>
    </dgm:pt>
    <dgm:pt modelId="{76DD6C57-6E3C-43F4-919D-9DD2C09B54E4}">
      <dgm:prSet/>
      <dgm:spPr>
        <a:solidFill>
          <a:schemeClr val="bg1">
            <a:lumMod val="75000"/>
          </a:schemeClr>
        </a:solidFill>
      </dgm:spPr>
      <dgm:t>
        <a:bodyPr/>
        <a:lstStyle/>
        <a:p>
          <a:endParaRPr lang="en-US" dirty="0"/>
        </a:p>
      </dgm:t>
    </dgm:pt>
    <dgm:pt modelId="{311E66B7-9E1D-44E6-B8E5-D302A677B39D}" type="parTrans" cxnId="{3BFB6C02-FB07-4CF1-8E8E-F89A1FAD049C}">
      <dgm:prSet/>
      <dgm:spPr>
        <a:solidFill>
          <a:schemeClr val="bg1"/>
        </a:solidFill>
        <a:ln>
          <a:solidFill>
            <a:schemeClr val="bg1"/>
          </a:solidFill>
        </a:ln>
      </dgm:spPr>
      <dgm:t>
        <a:bodyPr/>
        <a:lstStyle/>
        <a:p>
          <a:endParaRPr lang="en-US"/>
        </a:p>
      </dgm:t>
    </dgm:pt>
    <dgm:pt modelId="{20410E07-940B-49F4-90A0-82C78E94A434}" type="sibTrans" cxnId="{3BFB6C02-FB07-4CF1-8E8E-F89A1FAD049C}">
      <dgm:prSet/>
      <dgm:spPr/>
      <dgm:t>
        <a:bodyPr/>
        <a:lstStyle/>
        <a:p>
          <a:endParaRPr lang="en-US"/>
        </a:p>
      </dgm:t>
    </dgm:pt>
    <dgm:pt modelId="{A123B4CB-73AE-4A5D-A96F-74B83F93E5E2}">
      <dgm:prSet/>
      <dgm:spPr>
        <a:solidFill>
          <a:schemeClr val="bg1">
            <a:lumMod val="75000"/>
          </a:schemeClr>
        </a:solidFill>
      </dgm:spPr>
      <dgm:t>
        <a:bodyPr/>
        <a:lstStyle/>
        <a:p>
          <a:endParaRPr lang="en-US" dirty="0"/>
        </a:p>
      </dgm:t>
    </dgm:pt>
    <dgm:pt modelId="{843D162A-C242-4538-B0EA-2F6A1B658352}" type="parTrans" cxnId="{0AB8E133-9C41-416E-8A31-1D0C9E783595}">
      <dgm:prSet/>
      <dgm:spPr>
        <a:ln>
          <a:solidFill>
            <a:schemeClr val="bg1"/>
          </a:solidFill>
        </a:ln>
      </dgm:spPr>
      <dgm:t>
        <a:bodyPr/>
        <a:lstStyle/>
        <a:p>
          <a:endParaRPr lang="en-US"/>
        </a:p>
      </dgm:t>
    </dgm:pt>
    <dgm:pt modelId="{A2CDA91B-C553-453A-8F25-DE0DF7689C59}" type="sibTrans" cxnId="{0AB8E133-9C41-416E-8A31-1D0C9E783595}">
      <dgm:prSet/>
      <dgm:spPr/>
      <dgm:t>
        <a:bodyPr/>
        <a:lstStyle/>
        <a:p>
          <a:endParaRPr lang="en-US"/>
        </a:p>
      </dgm:t>
    </dgm:pt>
    <dgm:pt modelId="{39A17D33-A3CC-483D-AB6A-26869FBCEA5F}">
      <dgm:prSet/>
      <dgm:spPr>
        <a:solidFill>
          <a:schemeClr val="bg1">
            <a:lumMod val="75000"/>
          </a:schemeClr>
        </a:solidFill>
      </dgm:spPr>
      <dgm:t>
        <a:bodyPr/>
        <a:lstStyle/>
        <a:p>
          <a:endParaRPr lang="en-US" dirty="0"/>
        </a:p>
      </dgm:t>
    </dgm:pt>
    <dgm:pt modelId="{91033EEB-239E-40A6-9D1C-0FB4642C9E91}" type="parTrans" cxnId="{3EE394A7-E2BA-4F59-AA52-8F8AF1C03B8E}">
      <dgm:prSet/>
      <dgm:spPr>
        <a:ln>
          <a:solidFill>
            <a:schemeClr val="bg1"/>
          </a:solidFill>
        </a:ln>
      </dgm:spPr>
      <dgm:t>
        <a:bodyPr/>
        <a:lstStyle/>
        <a:p>
          <a:endParaRPr lang="en-US"/>
        </a:p>
      </dgm:t>
    </dgm:pt>
    <dgm:pt modelId="{D43EEEBF-EB6B-465A-BD0B-201CBF7D7BED}" type="sibTrans" cxnId="{3EE394A7-E2BA-4F59-AA52-8F8AF1C03B8E}">
      <dgm:prSet/>
      <dgm:spPr/>
      <dgm:t>
        <a:bodyPr/>
        <a:lstStyle/>
        <a:p>
          <a:endParaRPr lang="en-US"/>
        </a:p>
      </dgm:t>
    </dgm:pt>
    <dgm:pt modelId="{FB9A90B7-35CF-4607-9755-820B6F5C6915}">
      <dgm:prSet/>
      <dgm:spPr>
        <a:solidFill>
          <a:schemeClr val="bg1">
            <a:lumMod val="75000"/>
          </a:schemeClr>
        </a:solidFill>
      </dgm:spPr>
      <dgm:t>
        <a:bodyPr/>
        <a:lstStyle/>
        <a:p>
          <a:endParaRPr lang="en-US" dirty="0"/>
        </a:p>
      </dgm:t>
    </dgm:pt>
    <dgm:pt modelId="{C595A4F7-E038-440C-B148-A22701255FED}" type="parTrans" cxnId="{83AC3B8F-683C-413D-AB99-446C0D17C28A}">
      <dgm:prSet/>
      <dgm:spPr>
        <a:ln>
          <a:solidFill>
            <a:schemeClr val="tx2"/>
          </a:solidFill>
        </a:ln>
      </dgm:spPr>
      <dgm:t>
        <a:bodyPr/>
        <a:lstStyle/>
        <a:p>
          <a:endParaRPr lang="en-US"/>
        </a:p>
      </dgm:t>
    </dgm:pt>
    <dgm:pt modelId="{3F48F837-F57E-44DB-9481-E7AD849C8362}" type="sibTrans" cxnId="{83AC3B8F-683C-413D-AB99-446C0D17C28A}">
      <dgm:prSet/>
      <dgm:spPr/>
      <dgm:t>
        <a:bodyPr/>
        <a:lstStyle/>
        <a:p>
          <a:endParaRPr lang="en-US"/>
        </a:p>
      </dgm:t>
    </dgm:pt>
    <dgm:pt modelId="{D1F361EE-732B-42CE-A1C7-58688DFC54A3}">
      <dgm:prSet/>
      <dgm:spPr>
        <a:solidFill>
          <a:schemeClr val="bg1">
            <a:lumMod val="75000"/>
          </a:schemeClr>
        </a:solidFill>
      </dgm:spPr>
      <dgm:t>
        <a:bodyPr/>
        <a:lstStyle/>
        <a:p>
          <a:endParaRPr lang="en-US" dirty="0"/>
        </a:p>
      </dgm:t>
    </dgm:pt>
    <dgm:pt modelId="{6971A019-E07D-4AF4-8B95-D17C12F72D7C}" type="parTrans" cxnId="{BCC57898-5B3A-4DD2-B7A6-CA75F124CC98}">
      <dgm:prSet/>
      <dgm:spPr/>
      <dgm:t>
        <a:bodyPr/>
        <a:lstStyle/>
        <a:p>
          <a:endParaRPr lang="en-US"/>
        </a:p>
      </dgm:t>
    </dgm:pt>
    <dgm:pt modelId="{C663B42C-F63E-4028-94E9-ABE39DD2D398}" type="sibTrans" cxnId="{BCC57898-5B3A-4DD2-B7A6-CA75F124CC98}">
      <dgm:prSet/>
      <dgm:spPr/>
      <dgm:t>
        <a:bodyPr/>
        <a:lstStyle/>
        <a:p>
          <a:endParaRPr lang="en-US"/>
        </a:p>
      </dgm:t>
    </dgm:pt>
    <dgm:pt modelId="{BD2EEC77-DE7D-4CA6-9280-0184BF505BD2}" type="pres">
      <dgm:prSet presAssocID="{2CF2201B-9128-4080-993D-FBFD4DEDDE22}" presName="mainComposite" presStyleCnt="0">
        <dgm:presLayoutVars>
          <dgm:chPref val="1"/>
          <dgm:dir/>
          <dgm:animOne val="branch"/>
          <dgm:animLvl val="lvl"/>
          <dgm:resizeHandles val="exact"/>
        </dgm:presLayoutVars>
      </dgm:prSet>
      <dgm:spPr/>
    </dgm:pt>
    <dgm:pt modelId="{BF5C1AD7-2C21-46CC-9B0E-C7BD3FC564D8}" type="pres">
      <dgm:prSet presAssocID="{2CF2201B-9128-4080-993D-FBFD4DEDDE22}" presName="hierFlow" presStyleCnt="0"/>
      <dgm:spPr/>
    </dgm:pt>
    <dgm:pt modelId="{80FE9C4D-F95B-486D-9B7C-DB12B7FF7B22}" type="pres">
      <dgm:prSet presAssocID="{2CF2201B-9128-4080-993D-FBFD4DEDDE22}" presName="firstBuf" presStyleCnt="0"/>
      <dgm:spPr/>
    </dgm:pt>
    <dgm:pt modelId="{9285A0D7-6BEB-459D-A3B2-DE71B66904F1}" type="pres">
      <dgm:prSet presAssocID="{2CF2201B-9128-4080-993D-FBFD4DEDDE22}" presName="hierChild1" presStyleCnt="0">
        <dgm:presLayoutVars>
          <dgm:chPref val="1"/>
          <dgm:animOne val="branch"/>
          <dgm:animLvl val="lvl"/>
        </dgm:presLayoutVars>
      </dgm:prSet>
      <dgm:spPr/>
    </dgm:pt>
    <dgm:pt modelId="{48943EE5-393B-40DA-A315-49E1439EC383}" type="pres">
      <dgm:prSet presAssocID="{B09E0A40-D6AF-4185-B540-28D7B5A1B4F0}" presName="Name14" presStyleCnt="0"/>
      <dgm:spPr/>
    </dgm:pt>
    <dgm:pt modelId="{127D3B33-719E-4D1D-9080-17A12111A0B0}" type="pres">
      <dgm:prSet presAssocID="{B09E0A40-D6AF-4185-B540-28D7B5A1B4F0}" presName="level1Shape" presStyleLbl="node0" presStyleIdx="0" presStyleCnt="1">
        <dgm:presLayoutVars>
          <dgm:chPref val="3"/>
        </dgm:presLayoutVars>
      </dgm:prSet>
      <dgm:spPr/>
    </dgm:pt>
    <dgm:pt modelId="{A3BCBE14-36B3-43D7-8D31-D5DA877440A9}" type="pres">
      <dgm:prSet presAssocID="{B09E0A40-D6AF-4185-B540-28D7B5A1B4F0}" presName="hierChild2" presStyleCnt="0"/>
      <dgm:spPr/>
    </dgm:pt>
    <dgm:pt modelId="{F6D9BAD0-C159-4B3F-B7D9-0E7997766A71}" type="pres">
      <dgm:prSet presAssocID="{E89E5B37-3E11-4287-88B2-1E495CA8AC75}" presName="Name19" presStyleLbl="parChTrans1D2" presStyleIdx="0" presStyleCnt="3"/>
      <dgm:spPr/>
    </dgm:pt>
    <dgm:pt modelId="{32DC9832-9A5F-45CD-B823-E6C081424223}" type="pres">
      <dgm:prSet presAssocID="{12B6E7F5-0909-4C20-8778-EA30F055358F}" presName="Name21" presStyleCnt="0"/>
      <dgm:spPr/>
    </dgm:pt>
    <dgm:pt modelId="{CC671C13-58C6-4A76-B11E-E6832B3109E2}" type="pres">
      <dgm:prSet presAssocID="{12B6E7F5-0909-4C20-8778-EA30F055358F}" presName="level2Shape" presStyleLbl="node2" presStyleIdx="0" presStyleCnt="3"/>
      <dgm:spPr/>
    </dgm:pt>
    <dgm:pt modelId="{AF877541-8CEE-4EA6-8949-6BE5CEF61B3F}" type="pres">
      <dgm:prSet presAssocID="{12B6E7F5-0909-4C20-8778-EA30F055358F}" presName="hierChild3" presStyleCnt="0"/>
      <dgm:spPr/>
    </dgm:pt>
    <dgm:pt modelId="{AB967EAA-DF23-45A5-9E22-79489EF07869}" type="pres">
      <dgm:prSet presAssocID="{B5E327B7-D508-4BE9-A0DD-E32CD0165489}" presName="Name19" presStyleLbl="parChTrans1D3" presStyleIdx="0" presStyleCnt="5"/>
      <dgm:spPr/>
    </dgm:pt>
    <dgm:pt modelId="{F7BED830-DAB0-4DE4-909A-C5BE88F8ABC8}" type="pres">
      <dgm:prSet presAssocID="{ADAD80FB-A96F-4D1C-82A8-67886D3CF038}" presName="Name21" presStyleCnt="0"/>
      <dgm:spPr/>
    </dgm:pt>
    <dgm:pt modelId="{1883F37A-67B2-43AA-A6BB-8B26883AD956}" type="pres">
      <dgm:prSet presAssocID="{ADAD80FB-A96F-4D1C-82A8-67886D3CF038}" presName="level2Shape" presStyleLbl="node3" presStyleIdx="0" presStyleCnt="5"/>
      <dgm:spPr/>
    </dgm:pt>
    <dgm:pt modelId="{1F4F8DEE-8067-4825-9B3D-246BE92200D2}" type="pres">
      <dgm:prSet presAssocID="{ADAD80FB-A96F-4D1C-82A8-67886D3CF038}" presName="hierChild3" presStyleCnt="0"/>
      <dgm:spPr/>
    </dgm:pt>
    <dgm:pt modelId="{16302290-C701-4DAB-B485-8240FB4ABACC}" type="pres">
      <dgm:prSet presAssocID="{DEBAF3EE-B239-486B-A34D-40871CB52EFE}" presName="Name19" presStyleLbl="parChTrans1D3" presStyleIdx="1" presStyleCnt="5"/>
      <dgm:spPr/>
    </dgm:pt>
    <dgm:pt modelId="{11F353A1-9C27-4224-B3F5-320A74FE6B46}" type="pres">
      <dgm:prSet presAssocID="{1E60154E-2D5A-4CF7-8659-5BFDDC81FBB5}" presName="Name21" presStyleCnt="0"/>
      <dgm:spPr/>
    </dgm:pt>
    <dgm:pt modelId="{E7D9F28C-72DC-4E52-8FB1-3E79BF90BD3D}" type="pres">
      <dgm:prSet presAssocID="{1E60154E-2D5A-4CF7-8659-5BFDDC81FBB5}" presName="level2Shape" presStyleLbl="node3" presStyleIdx="1" presStyleCnt="5"/>
      <dgm:spPr/>
    </dgm:pt>
    <dgm:pt modelId="{023B1C3B-22AD-4D6A-B14F-9F7C01A0C09A}" type="pres">
      <dgm:prSet presAssocID="{1E60154E-2D5A-4CF7-8659-5BFDDC81FBB5}" presName="hierChild3" presStyleCnt="0"/>
      <dgm:spPr/>
    </dgm:pt>
    <dgm:pt modelId="{250A0804-1C40-449F-A81A-A9ADC5BC7A61}" type="pres">
      <dgm:prSet presAssocID="{A2E97256-F515-4B32-A735-5C6006508A81}" presName="Name19" presStyleLbl="parChTrans1D4" presStyleIdx="0" presStyleCnt="11"/>
      <dgm:spPr/>
    </dgm:pt>
    <dgm:pt modelId="{07B0CA90-450F-42D3-A7AA-9501EF614002}" type="pres">
      <dgm:prSet presAssocID="{A0D05C7C-215A-4A4F-89FE-ADC58DC4D2B6}" presName="Name21" presStyleCnt="0"/>
      <dgm:spPr/>
    </dgm:pt>
    <dgm:pt modelId="{AA846796-AA5F-4B2F-9840-0925DB1FE69F}" type="pres">
      <dgm:prSet presAssocID="{A0D05C7C-215A-4A4F-89FE-ADC58DC4D2B6}" presName="level2Shape" presStyleLbl="node4" presStyleIdx="0" presStyleCnt="11"/>
      <dgm:spPr/>
    </dgm:pt>
    <dgm:pt modelId="{1C8ED8BA-8EEF-458C-90F0-4B7FBACF3276}" type="pres">
      <dgm:prSet presAssocID="{A0D05C7C-215A-4A4F-89FE-ADC58DC4D2B6}" presName="hierChild3" presStyleCnt="0"/>
      <dgm:spPr/>
    </dgm:pt>
    <dgm:pt modelId="{D3C68F7C-DF79-4163-8AF7-E33CE0BF20C4}" type="pres">
      <dgm:prSet presAssocID="{C6D1E41C-F5D8-446F-BA19-CFF2C55BEDAC}" presName="Name19" presStyleLbl="parChTrans1D4" presStyleIdx="1" presStyleCnt="11"/>
      <dgm:spPr/>
    </dgm:pt>
    <dgm:pt modelId="{CCF35D5B-0728-4CD7-AA3E-66EBBEAEEF70}" type="pres">
      <dgm:prSet presAssocID="{8DADA950-EC46-45BB-A8CF-95AD40D99561}" presName="Name21" presStyleCnt="0"/>
      <dgm:spPr/>
    </dgm:pt>
    <dgm:pt modelId="{6F1F32DA-F2C0-4D86-A2E4-34B807564B5E}" type="pres">
      <dgm:prSet presAssocID="{8DADA950-EC46-45BB-A8CF-95AD40D99561}" presName="level2Shape" presStyleLbl="node4" presStyleIdx="1" presStyleCnt="11"/>
      <dgm:spPr/>
    </dgm:pt>
    <dgm:pt modelId="{4F9655E4-326A-4E0C-9006-33479F555D34}" type="pres">
      <dgm:prSet presAssocID="{8DADA950-EC46-45BB-A8CF-95AD40D99561}" presName="hierChild3" presStyleCnt="0"/>
      <dgm:spPr/>
    </dgm:pt>
    <dgm:pt modelId="{BEEBD014-CFC8-46D3-B010-871D4607FCF0}" type="pres">
      <dgm:prSet presAssocID="{0FEB750B-CB0B-4507-BBBE-79E7E6BED819}" presName="Name19" presStyleLbl="parChTrans1D4" presStyleIdx="2" presStyleCnt="11"/>
      <dgm:spPr/>
    </dgm:pt>
    <dgm:pt modelId="{D6FA5204-3142-47A3-8C3A-C2E2DDF5B222}" type="pres">
      <dgm:prSet presAssocID="{924C3E04-4048-449A-BD22-73391AEA3F86}" presName="Name21" presStyleCnt="0"/>
      <dgm:spPr/>
    </dgm:pt>
    <dgm:pt modelId="{97C1621B-FFE7-4595-AF02-D305C7CE7479}" type="pres">
      <dgm:prSet presAssocID="{924C3E04-4048-449A-BD22-73391AEA3F86}" presName="level2Shape" presStyleLbl="node4" presStyleIdx="2" presStyleCnt="11"/>
      <dgm:spPr/>
    </dgm:pt>
    <dgm:pt modelId="{CBABE683-3241-45F6-9583-0F8A92D6F168}" type="pres">
      <dgm:prSet presAssocID="{924C3E04-4048-449A-BD22-73391AEA3F86}" presName="hierChild3" presStyleCnt="0"/>
      <dgm:spPr/>
    </dgm:pt>
    <dgm:pt modelId="{94782508-8EE4-44B3-9499-2ADABCA82DA2}" type="pres">
      <dgm:prSet presAssocID="{0C8CB1FD-17CE-429D-BD81-310A6CA6AD75}" presName="Name19" presStyleLbl="parChTrans1D4" presStyleIdx="3" presStyleCnt="11"/>
      <dgm:spPr/>
    </dgm:pt>
    <dgm:pt modelId="{204C0481-922E-4EA9-A834-18A6D64F552D}" type="pres">
      <dgm:prSet presAssocID="{8D6AE135-7DC5-4395-A6E4-29F3CA947789}" presName="Name21" presStyleCnt="0"/>
      <dgm:spPr/>
    </dgm:pt>
    <dgm:pt modelId="{C7A741EB-9991-4FA7-BDEE-F85AB7E44177}" type="pres">
      <dgm:prSet presAssocID="{8D6AE135-7DC5-4395-A6E4-29F3CA947789}" presName="level2Shape" presStyleLbl="node4" presStyleIdx="3" presStyleCnt="11"/>
      <dgm:spPr/>
    </dgm:pt>
    <dgm:pt modelId="{0805C69A-67E8-46EC-8C99-DB80D6F7F382}" type="pres">
      <dgm:prSet presAssocID="{8D6AE135-7DC5-4395-A6E4-29F3CA947789}" presName="hierChild3" presStyleCnt="0"/>
      <dgm:spPr/>
    </dgm:pt>
    <dgm:pt modelId="{AB0202CE-5EC8-48BC-A497-623197E4857D}" type="pres">
      <dgm:prSet presAssocID="{8F9EB798-50F5-48D6-B950-67DB8D2C79B7}" presName="Name19" presStyleLbl="parChTrans1D4" presStyleIdx="4" presStyleCnt="11"/>
      <dgm:spPr/>
    </dgm:pt>
    <dgm:pt modelId="{A2037211-3ED2-4169-99E0-B747919A016D}" type="pres">
      <dgm:prSet presAssocID="{90D01477-9C59-4A9F-960B-4BC90EEC7FEC}" presName="Name21" presStyleCnt="0"/>
      <dgm:spPr/>
    </dgm:pt>
    <dgm:pt modelId="{926AF119-23A1-4014-8659-50DA4304A5B8}" type="pres">
      <dgm:prSet presAssocID="{90D01477-9C59-4A9F-960B-4BC90EEC7FEC}" presName="level2Shape" presStyleLbl="node4" presStyleIdx="4" presStyleCnt="11"/>
      <dgm:spPr/>
    </dgm:pt>
    <dgm:pt modelId="{7F8E9BE5-4DE2-4893-9172-ED70ADA361FB}" type="pres">
      <dgm:prSet presAssocID="{90D01477-9C59-4A9F-960B-4BC90EEC7FEC}" presName="hierChild3" presStyleCnt="0"/>
      <dgm:spPr/>
    </dgm:pt>
    <dgm:pt modelId="{A95C36C4-8283-4B01-9672-FA29E979D380}" type="pres">
      <dgm:prSet presAssocID="{88CD46BD-F712-42A8-B55E-1EEE8C7311BD}" presName="Name19" presStyleLbl="parChTrans1D4" presStyleIdx="5" presStyleCnt="11"/>
      <dgm:spPr/>
    </dgm:pt>
    <dgm:pt modelId="{1BC27D5E-A0B5-47DE-AD59-492B99952EC6}" type="pres">
      <dgm:prSet presAssocID="{ED912239-B53B-4008-9260-3955A881FC2A}" presName="Name21" presStyleCnt="0"/>
      <dgm:spPr/>
    </dgm:pt>
    <dgm:pt modelId="{582AD9B7-8F29-4F13-95B3-C1CD7231370D}" type="pres">
      <dgm:prSet presAssocID="{ED912239-B53B-4008-9260-3955A881FC2A}" presName="level2Shape" presStyleLbl="node4" presStyleIdx="5" presStyleCnt="11"/>
      <dgm:spPr/>
    </dgm:pt>
    <dgm:pt modelId="{8F1ED137-738F-4D02-92CE-B76704B9B026}" type="pres">
      <dgm:prSet presAssocID="{ED912239-B53B-4008-9260-3955A881FC2A}" presName="hierChild3" presStyleCnt="0"/>
      <dgm:spPr/>
    </dgm:pt>
    <dgm:pt modelId="{A5DEEF18-0418-453C-BFDD-B6504EB93C71}" type="pres">
      <dgm:prSet presAssocID="{63A7ABD2-1ED5-4252-A23B-5F870F5F08DD}" presName="Name19" presStyleLbl="parChTrans1D4" presStyleIdx="6" presStyleCnt="11"/>
      <dgm:spPr/>
    </dgm:pt>
    <dgm:pt modelId="{002179F9-5CCC-4235-BA71-E6017709DE9E}" type="pres">
      <dgm:prSet presAssocID="{AACDF00E-B4E5-42B3-B8B8-29E94DFB8118}" presName="Name21" presStyleCnt="0"/>
      <dgm:spPr/>
    </dgm:pt>
    <dgm:pt modelId="{9C774485-74FF-41BF-A922-3BC57F331365}" type="pres">
      <dgm:prSet presAssocID="{AACDF00E-B4E5-42B3-B8B8-29E94DFB8118}" presName="level2Shape" presStyleLbl="node4" presStyleIdx="6" presStyleCnt="11"/>
      <dgm:spPr/>
    </dgm:pt>
    <dgm:pt modelId="{2B69C929-46CF-4274-A9EA-017FEBE1B069}" type="pres">
      <dgm:prSet presAssocID="{AACDF00E-B4E5-42B3-B8B8-29E94DFB8118}" presName="hierChild3" presStyleCnt="0"/>
      <dgm:spPr/>
    </dgm:pt>
    <dgm:pt modelId="{C950A479-0EB6-41A5-88B4-4BF566C00EA3}" type="pres">
      <dgm:prSet presAssocID="{6AB071D2-EEFF-4DA2-AFD5-4BB481E355B0}" presName="Name19" presStyleLbl="parChTrans1D2" presStyleIdx="1" presStyleCnt="3"/>
      <dgm:spPr/>
    </dgm:pt>
    <dgm:pt modelId="{ECF1DA17-6D02-470D-914F-18B76B4A6462}" type="pres">
      <dgm:prSet presAssocID="{4AD880C2-B9A8-4B0B-AFAD-0320E20EE1A7}" presName="Name21" presStyleCnt="0"/>
      <dgm:spPr/>
    </dgm:pt>
    <dgm:pt modelId="{9976998B-5F74-4238-81FE-9DF932002021}" type="pres">
      <dgm:prSet presAssocID="{4AD880C2-B9A8-4B0B-AFAD-0320E20EE1A7}" presName="level2Shape" presStyleLbl="node2" presStyleIdx="1" presStyleCnt="3"/>
      <dgm:spPr/>
    </dgm:pt>
    <dgm:pt modelId="{1B6DF276-75E4-4144-827A-FF30E4C6C084}" type="pres">
      <dgm:prSet presAssocID="{4AD880C2-B9A8-4B0B-AFAD-0320E20EE1A7}" presName="hierChild3" presStyleCnt="0"/>
      <dgm:spPr/>
    </dgm:pt>
    <dgm:pt modelId="{70A3C057-5949-423F-A85F-D2B079D4D4B1}" type="pres">
      <dgm:prSet presAssocID="{0DFB3F4B-E313-49EF-9AC2-29FADBFC6365}" presName="Name19" presStyleLbl="parChTrans1D3" presStyleIdx="2" presStyleCnt="5"/>
      <dgm:spPr/>
    </dgm:pt>
    <dgm:pt modelId="{22A558AF-9C71-4C9C-8C3B-EE4A8DE9C4CE}" type="pres">
      <dgm:prSet presAssocID="{330180EF-8144-4C33-B487-F38BFB0A1C20}" presName="Name21" presStyleCnt="0"/>
      <dgm:spPr/>
    </dgm:pt>
    <dgm:pt modelId="{45B58C7B-2F8F-4E80-A5DA-23D84E4DABE3}" type="pres">
      <dgm:prSet presAssocID="{330180EF-8144-4C33-B487-F38BFB0A1C20}" presName="level2Shape" presStyleLbl="node3" presStyleIdx="2" presStyleCnt="5"/>
      <dgm:spPr/>
    </dgm:pt>
    <dgm:pt modelId="{5AAC6F33-554A-464F-863C-48C534F4D890}" type="pres">
      <dgm:prSet presAssocID="{330180EF-8144-4C33-B487-F38BFB0A1C20}" presName="hierChild3" presStyleCnt="0"/>
      <dgm:spPr/>
    </dgm:pt>
    <dgm:pt modelId="{ED670C13-4ADD-44CA-9D66-F0E0A43860CC}" type="pres">
      <dgm:prSet presAssocID="{8EC84C35-CBC1-41B7-A046-145358D35EFA}" presName="Name19" presStyleLbl="parChTrans1D3" presStyleIdx="3" presStyleCnt="5"/>
      <dgm:spPr/>
    </dgm:pt>
    <dgm:pt modelId="{378F0CA8-9048-4E47-A39B-A0CC05A748A1}" type="pres">
      <dgm:prSet presAssocID="{28975F10-5FB2-4FFF-84FC-D4B1D1E60598}" presName="Name21" presStyleCnt="0"/>
      <dgm:spPr/>
    </dgm:pt>
    <dgm:pt modelId="{D587AC4A-F51E-4C6D-8BFA-941245E20B69}" type="pres">
      <dgm:prSet presAssocID="{28975F10-5FB2-4FFF-84FC-D4B1D1E60598}" presName="level2Shape" presStyleLbl="node3" presStyleIdx="3" presStyleCnt="5"/>
      <dgm:spPr/>
    </dgm:pt>
    <dgm:pt modelId="{DC9F8F07-7F93-443E-9E35-9D23757436E4}" type="pres">
      <dgm:prSet presAssocID="{28975F10-5FB2-4FFF-84FC-D4B1D1E60598}" presName="hierChild3" presStyleCnt="0"/>
      <dgm:spPr/>
    </dgm:pt>
    <dgm:pt modelId="{DCB6E461-FF44-4EDA-AF30-EB89DB9B80DF}" type="pres">
      <dgm:prSet presAssocID="{C85F30E1-63B7-426E-94EF-66FA5DD6655A}" presName="Name19" presStyleLbl="parChTrans1D3" presStyleIdx="4" presStyleCnt="5"/>
      <dgm:spPr/>
    </dgm:pt>
    <dgm:pt modelId="{EC8BA09A-7049-4D76-9B87-5E5494D86537}" type="pres">
      <dgm:prSet presAssocID="{32FC6B7A-1C08-4DD4-BD18-D5117725D199}" presName="Name21" presStyleCnt="0"/>
      <dgm:spPr/>
    </dgm:pt>
    <dgm:pt modelId="{E6C1B0F9-EDA3-45C8-8CF3-540E20D77FE0}" type="pres">
      <dgm:prSet presAssocID="{32FC6B7A-1C08-4DD4-BD18-D5117725D199}" presName="level2Shape" presStyleLbl="node3" presStyleIdx="4" presStyleCnt="5"/>
      <dgm:spPr/>
    </dgm:pt>
    <dgm:pt modelId="{E12D9959-AF1F-48FA-8F22-646731DB5173}" type="pres">
      <dgm:prSet presAssocID="{32FC6B7A-1C08-4DD4-BD18-D5117725D199}" presName="hierChild3" presStyleCnt="0"/>
      <dgm:spPr/>
    </dgm:pt>
    <dgm:pt modelId="{E10F6EF7-BA34-4DD7-B0CB-6215B1A63FDF}" type="pres">
      <dgm:prSet presAssocID="{311E66B7-9E1D-44E6-B8E5-D302A677B39D}" presName="Name19" presStyleLbl="parChTrans1D4" presStyleIdx="7" presStyleCnt="11"/>
      <dgm:spPr/>
    </dgm:pt>
    <dgm:pt modelId="{218E8D31-E150-4C5A-898D-9CD6D7ECE535}" type="pres">
      <dgm:prSet presAssocID="{76DD6C57-6E3C-43F4-919D-9DD2C09B54E4}" presName="Name21" presStyleCnt="0"/>
      <dgm:spPr/>
    </dgm:pt>
    <dgm:pt modelId="{38636472-2FAB-4308-9CE8-9FE29BAEDC7E}" type="pres">
      <dgm:prSet presAssocID="{76DD6C57-6E3C-43F4-919D-9DD2C09B54E4}" presName="level2Shape" presStyleLbl="node4" presStyleIdx="7" presStyleCnt="11"/>
      <dgm:spPr/>
    </dgm:pt>
    <dgm:pt modelId="{2C93EC22-5EB1-4147-ADEE-7D36127BFFD3}" type="pres">
      <dgm:prSet presAssocID="{76DD6C57-6E3C-43F4-919D-9DD2C09B54E4}" presName="hierChild3" presStyleCnt="0"/>
      <dgm:spPr/>
    </dgm:pt>
    <dgm:pt modelId="{D88E10BA-53E6-467C-A7E0-06436D9E61BE}" type="pres">
      <dgm:prSet presAssocID="{6971A019-E07D-4AF4-8B95-D17C12F72D7C}" presName="Name19" presStyleLbl="parChTrans1D4" presStyleIdx="8" presStyleCnt="11"/>
      <dgm:spPr/>
    </dgm:pt>
    <dgm:pt modelId="{C4E8BB8B-EF2E-4F03-9F8E-B25779FF9BCA}" type="pres">
      <dgm:prSet presAssocID="{D1F361EE-732B-42CE-A1C7-58688DFC54A3}" presName="Name21" presStyleCnt="0"/>
      <dgm:spPr/>
    </dgm:pt>
    <dgm:pt modelId="{4AFBDA1C-C874-4F01-AF37-C3096FED922E}" type="pres">
      <dgm:prSet presAssocID="{D1F361EE-732B-42CE-A1C7-58688DFC54A3}" presName="level2Shape" presStyleLbl="node4" presStyleIdx="8" presStyleCnt="11"/>
      <dgm:spPr/>
    </dgm:pt>
    <dgm:pt modelId="{F0B29A47-B437-415C-A1BD-6B7DAE5F2180}" type="pres">
      <dgm:prSet presAssocID="{D1F361EE-732B-42CE-A1C7-58688DFC54A3}" presName="hierChild3" presStyleCnt="0"/>
      <dgm:spPr/>
    </dgm:pt>
    <dgm:pt modelId="{72EBBE43-285A-47BC-9CD8-6D2E6113B1E2}" type="pres">
      <dgm:prSet presAssocID="{843D162A-C242-4538-B0EA-2F6A1B658352}" presName="Name19" presStyleLbl="parChTrans1D4" presStyleIdx="9" presStyleCnt="11"/>
      <dgm:spPr/>
    </dgm:pt>
    <dgm:pt modelId="{96951545-B1FB-4A7A-81C3-65FBE31D13BD}" type="pres">
      <dgm:prSet presAssocID="{A123B4CB-73AE-4A5D-A96F-74B83F93E5E2}" presName="Name21" presStyleCnt="0"/>
      <dgm:spPr/>
    </dgm:pt>
    <dgm:pt modelId="{0A8C54FF-7D2E-46A8-BA71-B84296E5E964}" type="pres">
      <dgm:prSet presAssocID="{A123B4CB-73AE-4A5D-A96F-74B83F93E5E2}" presName="level2Shape" presStyleLbl="node4" presStyleIdx="9" presStyleCnt="11"/>
      <dgm:spPr/>
    </dgm:pt>
    <dgm:pt modelId="{AF8BBE8F-F37C-4A6D-90EE-1D66213AC75A}" type="pres">
      <dgm:prSet presAssocID="{A123B4CB-73AE-4A5D-A96F-74B83F93E5E2}" presName="hierChild3" presStyleCnt="0"/>
      <dgm:spPr/>
    </dgm:pt>
    <dgm:pt modelId="{F291E371-CD14-403D-A723-65A03D12A7FF}" type="pres">
      <dgm:prSet presAssocID="{91033EEB-239E-40A6-9D1C-0FB4642C9E91}" presName="Name19" presStyleLbl="parChTrans1D4" presStyleIdx="10" presStyleCnt="11"/>
      <dgm:spPr/>
    </dgm:pt>
    <dgm:pt modelId="{93697330-7A91-456D-96F4-7D194A5B2B24}" type="pres">
      <dgm:prSet presAssocID="{39A17D33-A3CC-483D-AB6A-26869FBCEA5F}" presName="Name21" presStyleCnt="0"/>
      <dgm:spPr/>
    </dgm:pt>
    <dgm:pt modelId="{393D0264-7D93-463D-91A9-934FC57FFF7F}" type="pres">
      <dgm:prSet presAssocID="{39A17D33-A3CC-483D-AB6A-26869FBCEA5F}" presName="level2Shape" presStyleLbl="node4" presStyleIdx="10" presStyleCnt="11"/>
      <dgm:spPr/>
    </dgm:pt>
    <dgm:pt modelId="{11A76D09-0D09-4127-ABB3-69400B83464C}" type="pres">
      <dgm:prSet presAssocID="{39A17D33-A3CC-483D-AB6A-26869FBCEA5F}" presName="hierChild3" presStyleCnt="0"/>
      <dgm:spPr/>
    </dgm:pt>
    <dgm:pt modelId="{0A2B502C-2983-4F3C-80EA-EFB6C1B8D582}" type="pres">
      <dgm:prSet presAssocID="{C595A4F7-E038-440C-B148-A22701255FED}" presName="Name19" presStyleLbl="parChTrans1D2" presStyleIdx="2" presStyleCnt="3"/>
      <dgm:spPr/>
    </dgm:pt>
    <dgm:pt modelId="{372B1458-3965-4AA4-AF78-D649C75CB170}" type="pres">
      <dgm:prSet presAssocID="{FB9A90B7-35CF-4607-9755-820B6F5C6915}" presName="Name21" presStyleCnt="0"/>
      <dgm:spPr/>
    </dgm:pt>
    <dgm:pt modelId="{00AB41C9-6D2A-4640-86FB-7C5B89DA0554}" type="pres">
      <dgm:prSet presAssocID="{FB9A90B7-35CF-4607-9755-820B6F5C6915}" presName="level2Shape" presStyleLbl="node2" presStyleIdx="2" presStyleCnt="3"/>
      <dgm:spPr/>
    </dgm:pt>
    <dgm:pt modelId="{8EB01700-1C58-4437-BF1B-2650534515E4}" type="pres">
      <dgm:prSet presAssocID="{FB9A90B7-35CF-4607-9755-820B6F5C6915}" presName="hierChild3" presStyleCnt="0"/>
      <dgm:spPr/>
    </dgm:pt>
    <dgm:pt modelId="{9D735DF0-8CAC-402F-B50B-440C630377AF}" type="pres">
      <dgm:prSet presAssocID="{2CF2201B-9128-4080-993D-FBFD4DEDDE22}" presName="bgShapesFlow" presStyleCnt="0"/>
      <dgm:spPr/>
    </dgm:pt>
    <dgm:pt modelId="{235A0773-7E47-46E6-9210-5439C784413C}" type="pres">
      <dgm:prSet presAssocID="{775216D1-1FFF-4E4A-A842-2675F899B02F}" presName="rectComp" presStyleCnt="0"/>
      <dgm:spPr/>
    </dgm:pt>
    <dgm:pt modelId="{789920EF-67C2-44D1-9100-51B6F3F7EB7C}" type="pres">
      <dgm:prSet presAssocID="{775216D1-1FFF-4E4A-A842-2675F899B02F}" presName="bgRect" presStyleLbl="bgShp" presStyleIdx="0" presStyleCnt="2"/>
      <dgm:spPr/>
    </dgm:pt>
    <dgm:pt modelId="{C06B3BEE-0D0D-407E-8167-C0A94A3F6898}" type="pres">
      <dgm:prSet presAssocID="{775216D1-1FFF-4E4A-A842-2675F899B02F}" presName="bgRectTx" presStyleLbl="bgShp" presStyleIdx="0" presStyleCnt="2">
        <dgm:presLayoutVars>
          <dgm:bulletEnabled val="1"/>
        </dgm:presLayoutVars>
      </dgm:prSet>
      <dgm:spPr/>
    </dgm:pt>
    <dgm:pt modelId="{C622D8B6-F623-48F6-A34A-CB105A79FA63}" type="pres">
      <dgm:prSet presAssocID="{775216D1-1FFF-4E4A-A842-2675F899B02F}" presName="spComp" presStyleCnt="0"/>
      <dgm:spPr/>
    </dgm:pt>
    <dgm:pt modelId="{0C832FD4-4B77-4989-AD70-35AF72E97E37}" type="pres">
      <dgm:prSet presAssocID="{775216D1-1FFF-4E4A-A842-2675F899B02F}" presName="vSp" presStyleCnt="0"/>
      <dgm:spPr/>
    </dgm:pt>
    <dgm:pt modelId="{22CFF7D7-B687-462E-B912-C05ACDF03826}" type="pres">
      <dgm:prSet presAssocID="{5DC38E05-E2DE-426D-819A-D87773D74234}" presName="rectComp" presStyleCnt="0"/>
      <dgm:spPr/>
    </dgm:pt>
    <dgm:pt modelId="{68233D1F-A65A-4786-B45D-09F14ABA5279}" type="pres">
      <dgm:prSet presAssocID="{5DC38E05-E2DE-426D-819A-D87773D74234}" presName="bgRect" presStyleLbl="bgShp" presStyleIdx="1" presStyleCnt="2" custScaleY="395400" custLinFactNeighborX="714" custLinFactNeighborY="731"/>
      <dgm:spPr/>
    </dgm:pt>
    <dgm:pt modelId="{0699492C-BF87-4F7F-B00B-DBDFC359C84D}" type="pres">
      <dgm:prSet presAssocID="{5DC38E05-E2DE-426D-819A-D87773D74234}" presName="bgRectTx" presStyleLbl="bgShp" presStyleIdx="1" presStyleCnt="2">
        <dgm:presLayoutVars>
          <dgm:bulletEnabled val="1"/>
        </dgm:presLayoutVars>
      </dgm:prSet>
      <dgm:spPr/>
    </dgm:pt>
  </dgm:ptLst>
  <dgm:cxnLst>
    <dgm:cxn modelId="{3BFB6C02-FB07-4CF1-8E8E-F89A1FAD049C}" srcId="{32FC6B7A-1C08-4DD4-BD18-D5117725D199}" destId="{76DD6C57-6E3C-43F4-919D-9DD2C09B54E4}" srcOrd="0" destOrd="0" parTransId="{311E66B7-9E1D-44E6-B8E5-D302A677B39D}" sibTransId="{20410E07-940B-49F4-90A0-82C78E94A434}"/>
    <dgm:cxn modelId="{91E31703-4F77-453B-A94B-F9B70A310B3F}" type="presOf" srcId="{AACDF00E-B4E5-42B3-B8B8-29E94DFB8118}" destId="{9C774485-74FF-41BF-A922-3BC57F331365}" srcOrd="0" destOrd="0" presId="urn:microsoft.com/office/officeart/2005/8/layout/hierarchy6"/>
    <dgm:cxn modelId="{6983610F-687D-410B-9565-B0A6330B11E9}" type="presOf" srcId="{91033EEB-239E-40A6-9D1C-0FB4642C9E91}" destId="{F291E371-CD14-403D-A723-65A03D12A7FF}" srcOrd="0" destOrd="0" presId="urn:microsoft.com/office/officeart/2005/8/layout/hierarchy6"/>
    <dgm:cxn modelId="{FB61E00F-BD5A-4CA7-8592-6CBF321E94D4}" type="presOf" srcId="{8F9EB798-50F5-48D6-B950-67DB8D2C79B7}" destId="{AB0202CE-5EC8-48BC-A497-623197E4857D}" srcOrd="0" destOrd="0" presId="urn:microsoft.com/office/officeart/2005/8/layout/hierarchy6"/>
    <dgm:cxn modelId="{08D62617-8AA0-434B-9FD6-AA4BC1D79836}" type="presOf" srcId="{8D6AE135-7DC5-4395-A6E4-29F3CA947789}" destId="{C7A741EB-9991-4FA7-BDEE-F85AB7E44177}" srcOrd="0" destOrd="0" presId="urn:microsoft.com/office/officeart/2005/8/layout/hierarchy6"/>
    <dgm:cxn modelId="{8A8D6B19-2988-4E09-B3B4-67F4EBBEF41E}" type="presOf" srcId="{A2E97256-F515-4B32-A735-5C6006508A81}" destId="{250A0804-1C40-449F-A81A-A9ADC5BC7A61}" srcOrd="0" destOrd="0" presId="urn:microsoft.com/office/officeart/2005/8/layout/hierarchy6"/>
    <dgm:cxn modelId="{DC4A1620-A03C-4546-9763-A3CDE078F70F}" type="presOf" srcId="{0DFB3F4B-E313-49EF-9AC2-29FADBFC6365}" destId="{70A3C057-5949-423F-A85F-D2B079D4D4B1}" srcOrd="0" destOrd="0" presId="urn:microsoft.com/office/officeart/2005/8/layout/hierarchy6"/>
    <dgm:cxn modelId="{E9CF8B23-D84B-490F-BAAB-0DCD0B26257F}" srcId="{924C3E04-4048-449A-BD22-73391AEA3F86}" destId="{90D01477-9C59-4A9F-960B-4BC90EEC7FEC}" srcOrd="1" destOrd="0" parTransId="{8F9EB798-50F5-48D6-B950-67DB8D2C79B7}" sibTransId="{91F8361B-569F-4B59-8188-F5C6758DBDAA}"/>
    <dgm:cxn modelId="{23B11825-03E3-4471-A1E1-861D20547EDA}" type="presOf" srcId="{C595A4F7-E038-440C-B148-A22701255FED}" destId="{0A2B502C-2983-4F3C-80EA-EFB6C1B8D582}" srcOrd="0" destOrd="0" presId="urn:microsoft.com/office/officeart/2005/8/layout/hierarchy6"/>
    <dgm:cxn modelId="{8699312F-5A3A-491C-8F41-96399094CDEB}" type="presOf" srcId="{32FC6B7A-1C08-4DD4-BD18-D5117725D199}" destId="{E6C1B0F9-EDA3-45C8-8CF3-540E20D77FE0}" srcOrd="0" destOrd="0" presId="urn:microsoft.com/office/officeart/2005/8/layout/hierarchy6"/>
    <dgm:cxn modelId="{0AB8E133-9C41-416E-8A31-1D0C9E783595}" srcId="{32FC6B7A-1C08-4DD4-BD18-D5117725D199}" destId="{A123B4CB-73AE-4A5D-A96F-74B83F93E5E2}" srcOrd="2" destOrd="0" parTransId="{843D162A-C242-4538-B0EA-2F6A1B658352}" sibTransId="{A2CDA91B-C553-453A-8F25-DE0DF7689C59}"/>
    <dgm:cxn modelId="{2244F634-DE02-4A8A-AB2B-BD49DE45866B}" type="presOf" srcId="{39A17D33-A3CC-483D-AB6A-26869FBCEA5F}" destId="{393D0264-7D93-463D-91A9-934FC57FFF7F}" srcOrd="0" destOrd="0" presId="urn:microsoft.com/office/officeart/2005/8/layout/hierarchy6"/>
    <dgm:cxn modelId="{1E2DA637-EA4D-4AD6-89EE-96E60FF23C0A}" type="presOf" srcId="{5DC38E05-E2DE-426D-819A-D87773D74234}" destId="{68233D1F-A65A-4786-B45D-09F14ABA5279}" srcOrd="0" destOrd="0" presId="urn:microsoft.com/office/officeart/2005/8/layout/hierarchy6"/>
    <dgm:cxn modelId="{A3645039-ED85-43E8-8859-DEAC5DCF2A03}" srcId="{4AD880C2-B9A8-4B0B-AFAD-0320E20EE1A7}" destId="{330180EF-8144-4C33-B487-F38BFB0A1C20}" srcOrd="0" destOrd="0" parTransId="{0DFB3F4B-E313-49EF-9AC2-29FADBFC6365}" sibTransId="{6798623E-8064-4BED-8652-29932255EB9B}"/>
    <dgm:cxn modelId="{C3E2523A-354A-48FD-A761-E575117B0E88}" type="presOf" srcId="{C85F30E1-63B7-426E-94EF-66FA5DD6655A}" destId="{DCB6E461-FF44-4EDA-AF30-EB89DB9B80DF}" srcOrd="0" destOrd="0" presId="urn:microsoft.com/office/officeart/2005/8/layout/hierarchy6"/>
    <dgm:cxn modelId="{4ED31C5E-1F46-496D-88E3-A8383BD27625}" srcId="{4AD880C2-B9A8-4B0B-AFAD-0320E20EE1A7}" destId="{28975F10-5FB2-4FFF-84FC-D4B1D1E60598}" srcOrd="1" destOrd="0" parTransId="{8EC84C35-CBC1-41B7-A046-145358D35EFA}" sibTransId="{FB7AA234-BE4E-4C3B-8AA5-FF44502398D9}"/>
    <dgm:cxn modelId="{A0086262-37FA-47E9-BC54-36D1C98D2822}" type="presOf" srcId="{0C8CB1FD-17CE-429D-BD81-310A6CA6AD75}" destId="{94782508-8EE4-44B3-9499-2ADABCA82DA2}" srcOrd="0" destOrd="0" presId="urn:microsoft.com/office/officeart/2005/8/layout/hierarchy6"/>
    <dgm:cxn modelId="{EEE26F46-1617-4FF0-9475-826905BEAC86}" type="presOf" srcId="{330180EF-8144-4C33-B487-F38BFB0A1C20}" destId="{45B58C7B-2F8F-4E80-A5DA-23D84E4DABE3}" srcOrd="0" destOrd="0" presId="urn:microsoft.com/office/officeart/2005/8/layout/hierarchy6"/>
    <dgm:cxn modelId="{7FB30547-09F5-4070-B134-A51EF46E0761}" type="presOf" srcId="{28975F10-5FB2-4FFF-84FC-D4B1D1E60598}" destId="{D587AC4A-F51E-4C6D-8BFA-941245E20B69}" srcOrd="0" destOrd="0" presId="urn:microsoft.com/office/officeart/2005/8/layout/hierarchy6"/>
    <dgm:cxn modelId="{705CDC67-2E56-4382-8170-FAE3658C05AA}" srcId="{2CF2201B-9128-4080-993D-FBFD4DEDDE22}" destId="{B09E0A40-D6AF-4185-B540-28D7B5A1B4F0}" srcOrd="0" destOrd="0" parTransId="{54F326FF-69B4-4E01-95F0-E95678598FC4}" sibTransId="{F9B817DE-019C-4472-BBFC-0FADBAA561CD}"/>
    <dgm:cxn modelId="{3D88824A-D270-46C9-AD81-231C49EB17A3}" type="presOf" srcId="{8EC84C35-CBC1-41B7-A046-145358D35EFA}" destId="{ED670C13-4ADD-44CA-9D66-F0E0A43860CC}" srcOrd="0" destOrd="0" presId="urn:microsoft.com/office/officeart/2005/8/layout/hierarchy6"/>
    <dgm:cxn modelId="{7E9C2E6F-6612-42A5-815D-E54CBE1E0944}" type="presOf" srcId="{775216D1-1FFF-4E4A-A842-2675F899B02F}" destId="{C06B3BEE-0D0D-407E-8167-C0A94A3F6898}" srcOrd="1" destOrd="0" presId="urn:microsoft.com/office/officeart/2005/8/layout/hierarchy6"/>
    <dgm:cxn modelId="{06A7EB56-21A1-4E25-A154-5AB8CCB7613E}" type="presOf" srcId="{843D162A-C242-4538-B0EA-2F6A1B658352}" destId="{72EBBE43-285A-47BC-9CD8-6D2E6113B1E2}" srcOrd="0" destOrd="0" presId="urn:microsoft.com/office/officeart/2005/8/layout/hierarchy6"/>
    <dgm:cxn modelId="{D42C3F57-36A6-4915-A0D6-F4552BECAE46}" type="presOf" srcId="{12B6E7F5-0909-4C20-8778-EA30F055358F}" destId="{CC671C13-58C6-4A76-B11E-E6832B3109E2}" srcOrd="0" destOrd="0" presId="urn:microsoft.com/office/officeart/2005/8/layout/hierarchy6"/>
    <dgm:cxn modelId="{1F384058-4D40-4706-85F4-EB40A74C2725}" type="presOf" srcId="{A0D05C7C-215A-4A4F-89FE-ADC58DC4D2B6}" destId="{AA846796-AA5F-4B2F-9840-0925DB1FE69F}" srcOrd="0" destOrd="0" presId="urn:microsoft.com/office/officeart/2005/8/layout/hierarchy6"/>
    <dgm:cxn modelId="{5F7CC758-8518-4BBC-BFD9-DDD8A8921802}" type="presOf" srcId="{ED912239-B53B-4008-9260-3955A881FC2A}" destId="{582AD9B7-8F29-4F13-95B3-C1CD7231370D}" srcOrd="0" destOrd="0" presId="urn:microsoft.com/office/officeart/2005/8/layout/hierarchy6"/>
    <dgm:cxn modelId="{CB05FE78-1714-461E-9B45-AE8C1AEBBAC2}" type="presOf" srcId="{A123B4CB-73AE-4A5D-A96F-74B83F93E5E2}" destId="{0A8C54FF-7D2E-46A8-BA71-B84296E5E964}" srcOrd="0" destOrd="0" presId="urn:microsoft.com/office/officeart/2005/8/layout/hierarchy6"/>
    <dgm:cxn modelId="{D4477D7D-681E-42A7-9F87-9E64E4A3F1AE}" type="presOf" srcId="{DEBAF3EE-B239-486B-A34D-40871CB52EFE}" destId="{16302290-C701-4DAB-B485-8240FB4ABACC}" srcOrd="0" destOrd="0" presId="urn:microsoft.com/office/officeart/2005/8/layout/hierarchy6"/>
    <dgm:cxn modelId="{1BF4B682-7478-4E6A-B3E5-CEB8103B0AF8}" type="presOf" srcId="{88CD46BD-F712-42A8-B55E-1EEE8C7311BD}" destId="{A95C36C4-8283-4B01-9672-FA29E979D380}" srcOrd="0" destOrd="0" presId="urn:microsoft.com/office/officeart/2005/8/layout/hierarchy6"/>
    <dgm:cxn modelId="{3F40F884-4091-41CC-BA38-D2BC974315B2}" type="presOf" srcId="{D1F361EE-732B-42CE-A1C7-58688DFC54A3}" destId="{4AFBDA1C-C874-4F01-AF37-C3096FED922E}" srcOrd="0" destOrd="0" presId="urn:microsoft.com/office/officeart/2005/8/layout/hierarchy6"/>
    <dgm:cxn modelId="{83AC3B8F-683C-413D-AB99-446C0D17C28A}" srcId="{B09E0A40-D6AF-4185-B540-28D7B5A1B4F0}" destId="{FB9A90B7-35CF-4607-9755-820B6F5C6915}" srcOrd="2" destOrd="0" parTransId="{C595A4F7-E038-440C-B148-A22701255FED}" sibTransId="{3F48F837-F57E-44DB-9481-E7AD849C8362}"/>
    <dgm:cxn modelId="{7A25F391-4E5D-4583-893F-57B029A1B2F9}" srcId="{B09E0A40-D6AF-4185-B540-28D7B5A1B4F0}" destId="{4AD880C2-B9A8-4B0B-AFAD-0320E20EE1A7}" srcOrd="1" destOrd="0" parTransId="{6AB071D2-EEFF-4DA2-AFD5-4BB481E355B0}" sibTransId="{FA762935-1829-4263-B965-671F157FF0A9}"/>
    <dgm:cxn modelId="{943B9D92-FAF5-4B5B-AA5C-445E7B65AF10}" srcId="{2CF2201B-9128-4080-993D-FBFD4DEDDE22}" destId="{775216D1-1FFF-4E4A-A842-2675F899B02F}" srcOrd="1" destOrd="0" parTransId="{48B08855-F728-4483-85C1-680892AACD4E}" sibTransId="{9E3472AC-805A-4510-8222-9A3901539D2E}"/>
    <dgm:cxn modelId="{BCC57898-5B3A-4DD2-B7A6-CA75F124CC98}" srcId="{32FC6B7A-1C08-4DD4-BD18-D5117725D199}" destId="{D1F361EE-732B-42CE-A1C7-58688DFC54A3}" srcOrd="1" destOrd="0" parTransId="{6971A019-E07D-4AF4-8B95-D17C12F72D7C}" sibTransId="{C663B42C-F63E-4028-94E9-ABE39DD2D398}"/>
    <dgm:cxn modelId="{4D62029D-BB98-4927-BB0D-84481F36A507}" type="presOf" srcId="{311E66B7-9E1D-44E6-B8E5-D302A677B39D}" destId="{E10F6EF7-BA34-4DD7-B0CB-6215B1A63FDF}" srcOrd="0" destOrd="0" presId="urn:microsoft.com/office/officeart/2005/8/layout/hierarchy6"/>
    <dgm:cxn modelId="{274322A1-4430-4BE6-BC76-0CCB101404AD}" srcId="{12B6E7F5-0909-4C20-8778-EA30F055358F}" destId="{1E60154E-2D5A-4CF7-8659-5BFDDC81FBB5}" srcOrd="1" destOrd="0" parTransId="{DEBAF3EE-B239-486B-A34D-40871CB52EFE}" sibTransId="{73DA71DF-9A4A-4835-917B-42A741005BF0}"/>
    <dgm:cxn modelId="{3EE394A7-E2BA-4F59-AA52-8F8AF1C03B8E}" srcId="{A123B4CB-73AE-4A5D-A96F-74B83F93E5E2}" destId="{39A17D33-A3CC-483D-AB6A-26869FBCEA5F}" srcOrd="0" destOrd="0" parTransId="{91033EEB-239E-40A6-9D1C-0FB4642C9E91}" sibTransId="{D43EEEBF-EB6B-465A-BD0B-201CBF7D7BED}"/>
    <dgm:cxn modelId="{4C74AAA8-8207-4AF0-A2F4-3B94B5746799}" type="presOf" srcId="{0FEB750B-CB0B-4507-BBBE-79E7E6BED819}" destId="{BEEBD014-CFC8-46D3-B010-871D4607FCF0}" srcOrd="0" destOrd="0" presId="urn:microsoft.com/office/officeart/2005/8/layout/hierarchy6"/>
    <dgm:cxn modelId="{23A874AE-28BA-413B-99A3-1CA0D5F7AAE2}" type="presOf" srcId="{ADAD80FB-A96F-4D1C-82A8-67886D3CF038}" destId="{1883F37A-67B2-43AA-A6BB-8B26883AD956}" srcOrd="0" destOrd="0" presId="urn:microsoft.com/office/officeart/2005/8/layout/hierarchy6"/>
    <dgm:cxn modelId="{10B8D8BA-FF43-4626-9C4B-AD52523C7BEF}" srcId="{1E60154E-2D5A-4CF7-8659-5BFDDC81FBB5}" destId="{A0D05C7C-215A-4A4F-89FE-ADC58DC4D2B6}" srcOrd="0" destOrd="0" parTransId="{A2E97256-F515-4B32-A735-5C6006508A81}" sibTransId="{F721AE55-1988-43D2-90CF-ADAD8245087F}"/>
    <dgm:cxn modelId="{24F826C0-EDD0-4E4A-A3B4-5344D7F4FDA2}" srcId="{12B6E7F5-0909-4C20-8778-EA30F055358F}" destId="{ADAD80FB-A96F-4D1C-82A8-67886D3CF038}" srcOrd="0" destOrd="0" parTransId="{B5E327B7-D508-4BE9-A0DD-E32CD0165489}" sibTransId="{2C241AD4-C608-4D86-A7C0-348887860949}"/>
    <dgm:cxn modelId="{CE4467C2-0A46-4533-B866-264E3C570202}" srcId="{1E60154E-2D5A-4CF7-8659-5BFDDC81FBB5}" destId="{8DADA950-EC46-45BB-A8CF-95AD40D99561}" srcOrd="1" destOrd="0" parTransId="{C6D1E41C-F5D8-446F-BA19-CFF2C55BEDAC}" sibTransId="{C15EC2A2-64AD-41A3-9431-AD99BA92C0A6}"/>
    <dgm:cxn modelId="{5E7D64C4-A4C2-4F6A-B38A-D9BC4449F4C5}" type="presOf" srcId="{775216D1-1FFF-4E4A-A842-2675F899B02F}" destId="{789920EF-67C2-44D1-9100-51B6F3F7EB7C}" srcOrd="0" destOrd="0" presId="urn:microsoft.com/office/officeart/2005/8/layout/hierarchy6"/>
    <dgm:cxn modelId="{860E41C5-1014-4219-972C-6CE63CD4AA9B}" srcId="{2CF2201B-9128-4080-993D-FBFD4DEDDE22}" destId="{5DC38E05-E2DE-426D-819A-D87773D74234}" srcOrd="2" destOrd="0" parTransId="{28F32A50-97AE-42D2-958B-81C89A4CD181}" sibTransId="{16E3A76C-6C62-49E5-BCA6-B75A564F2F75}"/>
    <dgm:cxn modelId="{F29858C7-4281-420B-B5E3-FC722BEEA5E4}" type="presOf" srcId="{FB9A90B7-35CF-4607-9755-820B6F5C6915}" destId="{00AB41C9-6D2A-4640-86FB-7C5B89DA0554}" srcOrd="0" destOrd="0" presId="urn:microsoft.com/office/officeart/2005/8/layout/hierarchy6"/>
    <dgm:cxn modelId="{61A64DCD-9D1A-4EB3-9651-44384D639370}" type="presOf" srcId="{924C3E04-4048-449A-BD22-73391AEA3F86}" destId="{97C1621B-FFE7-4595-AF02-D305C7CE7479}" srcOrd="0" destOrd="0" presId="urn:microsoft.com/office/officeart/2005/8/layout/hierarchy6"/>
    <dgm:cxn modelId="{F797F9CD-3B95-4954-8A2C-75616BCF72B4}" srcId="{924C3E04-4048-449A-BD22-73391AEA3F86}" destId="{ED912239-B53B-4008-9260-3955A881FC2A}" srcOrd="2" destOrd="0" parTransId="{88CD46BD-F712-42A8-B55E-1EEE8C7311BD}" sibTransId="{BB247ABD-D5F7-4EF1-8460-095905C6DCBE}"/>
    <dgm:cxn modelId="{0EC043D1-3279-4F08-86D5-750013BB6A61}" type="presOf" srcId="{4AD880C2-B9A8-4B0B-AFAD-0320E20EE1A7}" destId="{9976998B-5F74-4238-81FE-9DF932002021}" srcOrd="0" destOrd="0" presId="urn:microsoft.com/office/officeart/2005/8/layout/hierarchy6"/>
    <dgm:cxn modelId="{44E7B0D6-0F5C-42F1-837D-7147EA4EAB8C}" type="presOf" srcId="{6971A019-E07D-4AF4-8B95-D17C12F72D7C}" destId="{D88E10BA-53E6-467C-A7E0-06436D9E61BE}" srcOrd="0" destOrd="0" presId="urn:microsoft.com/office/officeart/2005/8/layout/hierarchy6"/>
    <dgm:cxn modelId="{C01141D8-2ACA-4468-BD56-BE9A7C529877}" type="presOf" srcId="{C6D1E41C-F5D8-446F-BA19-CFF2C55BEDAC}" destId="{D3C68F7C-DF79-4163-8AF7-E33CE0BF20C4}" srcOrd="0" destOrd="0" presId="urn:microsoft.com/office/officeart/2005/8/layout/hierarchy6"/>
    <dgm:cxn modelId="{2AE7C5DC-1436-42A6-A52E-42B121050324}" type="presOf" srcId="{6AB071D2-EEFF-4DA2-AFD5-4BB481E355B0}" destId="{C950A479-0EB6-41A5-88B4-4BF566C00EA3}" srcOrd="0" destOrd="0" presId="urn:microsoft.com/office/officeart/2005/8/layout/hierarchy6"/>
    <dgm:cxn modelId="{42DDE7DD-B5A4-4F98-999F-AA2D78961E77}" type="presOf" srcId="{E89E5B37-3E11-4287-88B2-1E495CA8AC75}" destId="{F6D9BAD0-C159-4B3F-B7D9-0E7997766A71}" srcOrd="0" destOrd="0" presId="urn:microsoft.com/office/officeart/2005/8/layout/hierarchy6"/>
    <dgm:cxn modelId="{6AA558DF-6180-4809-8416-25656955E864}" type="presOf" srcId="{63A7ABD2-1ED5-4252-A23B-5F870F5F08DD}" destId="{A5DEEF18-0418-453C-BFDD-B6504EB93C71}" srcOrd="0" destOrd="0" presId="urn:microsoft.com/office/officeart/2005/8/layout/hierarchy6"/>
    <dgm:cxn modelId="{E2379AE3-C2ED-47D5-A41F-19DACCA04BBC}" srcId="{1E60154E-2D5A-4CF7-8659-5BFDDC81FBB5}" destId="{AACDF00E-B4E5-42B3-B8B8-29E94DFB8118}" srcOrd="3" destOrd="0" parTransId="{63A7ABD2-1ED5-4252-A23B-5F870F5F08DD}" sibTransId="{404869FB-ABD8-4745-9DCC-988F18DE4ECA}"/>
    <dgm:cxn modelId="{B2C599E5-01C4-4A5B-AE9D-79681EBA1DFC}" type="presOf" srcId="{1E60154E-2D5A-4CF7-8659-5BFDDC81FBB5}" destId="{E7D9F28C-72DC-4E52-8FB1-3E79BF90BD3D}" srcOrd="0" destOrd="0" presId="urn:microsoft.com/office/officeart/2005/8/layout/hierarchy6"/>
    <dgm:cxn modelId="{B349A9E5-28F5-4F5D-8016-D191E1065D9D}" type="presOf" srcId="{90D01477-9C59-4A9F-960B-4BC90EEC7FEC}" destId="{926AF119-23A1-4014-8659-50DA4304A5B8}" srcOrd="0" destOrd="0" presId="urn:microsoft.com/office/officeart/2005/8/layout/hierarchy6"/>
    <dgm:cxn modelId="{7B2866EF-D941-4F72-BC6F-6660B33633F2}" type="presOf" srcId="{76DD6C57-6E3C-43F4-919D-9DD2C09B54E4}" destId="{38636472-2FAB-4308-9CE8-9FE29BAEDC7E}" srcOrd="0" destOrd="0" presId="urn:microsoft.com/office/officeart/2005/8/layout/hierarchy6"/>
    <dgm:cxn modelId="{173B6BF3-A668-475E-9C29-3B0082FD0150}" type="presOf" srcId="{2CF2201B-9128-4080-993D-FBFD4DEDDE22}" destId="{BD2EEC77-DE7D-4CA6-9280-0184BF505BD2}" srcOrd="0" destOrd="0" presId="urn:microsoft.com/office/officeart/2005/8/layout/hierarchy6"/>
    <dgm:cxn modelId="{6D7DC8F3-C9B3-42CF-8ECC-0757E73B34DC}" srcId="{4AD880C2-B9A8-4B0B-AFAD-0320E20EE1A7}" destId="{32FC6B7A-1C08-4DD4-BD18-D5117725D199}" srcOrd="2" destOrd="0" parTransId="{C85F30E1-63B7-426E-94EF-66FA5DD6655A}" sibTransId="{7BA1BBDD-8C85-455C-8F6A-8CECA4A35159}"/>
    <dgm:cxn modelId="{53500CF4-0AB0-4E30-AA28-2D515DC9BB6B}" srcId="{1E60154E-2D5A-4CF7-8659-5BFDDC81FBB5}" destId="{924C3E04-4048-449A-BD22-73391AEA3F86}" srcOrd="2" destOrd="0" parTransId="{0FEB750B-CB0B-4507-BBBE-79E7E6BED819}" sibTransId="{22BA2ED5-4DAA-44E8-B6D6-E5AD5972BA25}"/>
    <dgm:cxn modelId="{887316F6-F6A7-480B-AC97-28959B9FB6A5}" type="presOf" srcId="{5DC38E05-E2DE-426D-819A-D87773D74234}" destId="{0699492C-BF87-4F7F-B00B-DBDFC359C84D}" srcOrd="1" destOrd="0" presId="urn:microsoft.com/office/officeart/2005/8/layout/hierarchy6"/>
    <dgm:cxn modelId="{BCDEC7F7-067F-4987-B3C7-098666C285C3}" type="presOf" srcId="{B5E327B7-D508-4BE9-A0DD-E32CD0165489}" destId="{AB967EAA-DF23-45A5-9E22-79489EF07869}" srcOrd="0" destOrd="0" presId="urn:microsoft.com/office/officeart/2005/8/layout/hierarchy6"/>
    <dgm:cxn modelId="{99E725FA-BA8B-49A6-831D-648C7183240F}" srcId="{B09E0A40-D6AF-4185-B540-28D7B5A1B4F0}" destId="{12B6E7F5-0909-4C20-8778-EA30F055358F}" srcOrd="0" destOrd="0" parTransId="{E89E5B37-3E11-4287-88B2-1E495CA8AC75}" sibTransId="{08C45D4B-80BC-46E0-9DBE-9796462FA4FE}"/>
    <dgm:cxn modelId="{E32663FB-152D-44B3-BEA0-45E4BA83AB38}" type="presOf" srcId="{8DADA950-EC46-45BB-A8CF-95AD40D99561}" destId="{6F1F32DA-F2C0-4D86-A2E4-34B807564B5E}" srcOrd="0" destOrd="0" presId="urn:microsoft.com/office/officeart/2005/8/layout/hierarchy6"/>
    <dgm:cxn modelId="{9181F1FC-41CD-48C8-99F5-89A7564B1D04}" type="presOf" srcId="{B09E0A40-D6AF-4185-B540-28D7B5A1B4F0}" destId="{127D3B33-719E-4D1D-9080-17A12111A0B0}" srcOrd="0" destOrd="0" presId="urn:microsoft.com/office/officeart/2005/8/layout/hierarchy6"/>
    <dgm:cxn modelId="{00D511FD-C70F-4F9E-96D5-3D607C2EA374}" srcId="{924C3E04-4048-449A-BD22-73391AEA3F86}" destId="{8D6AE135-7DC5-4395-A6E4-29F3CA947789}" srcOrd="0" destOrd="0" parTransId="{0C8CB1FD-17CE-429D-BD81-310A6CA6AD75}" sibTransId="{084AAF75-E581-4A26-8179-5FC22659AEDC}"/>
    <dgm:cxn modelId="{06B02FAB-02CD-4143-A2A1-29ABC95E8717}" type="presParOf" srcId="{BD2EEC77-DE7D-4CA6-9280-0184BF505BD2}" destId="{BF5C1AD7-2C21-46CC-9B0E-C7BD3FC564D8}" srcOrd="0" destOrd="0" presId="urn:microsoft.com/office/officeart/2005/8/layout/hierarchy6"/>
    <dgm:cxn modelId="{A6CA3A47-8233-4E84-8C54-A0D2A2AE5999}" type="presParOf" srcId="{BF5C1AD7-2C21-46CC-9B0E-C7BD3FC564D8}" destId="{80FE9C4D-F95B-486D-9B7C-DB12B7FF7B22}" srcOrd="0" destOrd="0" presId="urn:microsoft.com/office/officeart/2005/8/layout/hierarchy6"/>
    <dgm:cxn modelId="{1651E0E2-E3CB-436D-8969-9C69776D9D2B}" type="presParOf" srcId="{BF5C1AD7-2C21-46CC-9B0E-C7BD3FC564D8}" destId="{9285A0D7-6BEB-459D-A3B2-DE71B66904F1}" srcOrd="1" destOrd="0" presId="urn:microsoft.com/office/officeart/2005/8/layout/hierarchy6"/>
    <dgm:cxn modelId="{97A49C1B-F7ED-4F31-BC1A-47D6709AF029}" type="presParOf" srcId="{9285A0D7-6BEB-459D-A3B2-DE71B66904F1}" destId="{48943EE5-393B-40DA-A315-49E1439EC383}" srcOrd="0" destOrd="0" presId="urn:microsoft.com/office/officeart/2005/8/layout/hierarchy6"/>
    <dgm:cxn modelId="{D5741467-992F-4E86-A096-EAA2A82D0F83}" type="presParOf" srcId="{48943EE5-393B-40DA-A315-49E1439EC383}" destId="{127D3B33-719E-4D1D-9080-17A12111A0B0}" srcOrd="0" destOrd="0" presId="urn:microsoft.com/office/officeart/2005/8/layout/hierarchy6"/>
    <dgm:cxn modelId="{9D19C249-8969-4AE9-ADBA-113BD77B7999}" type="presParOf" srcId="{48943EE5-393B-40DA-A315-49E1439EC383}" destId="{A3BCBE14-36B3-43D7-8D31-D5DA877440A9}" srcOrd="1" destOrd="0" presId="urn:microsoft.com/office/officeart/2005/8/layout/hierarchy6"/>
    <dgm:cxn modelId="{892074A7-A25D-4947-90A6-B3312A808F18}" type="presParOf" srcId="{A3BCBE14-36B3-43D7-8D31-D5DA877440A9}" destId="{F6D9BAD0-C159-4B3F-B7D9-0E7997766A71}" srcOrd="0" destOrd="0" presId="urn:microsoft.com/office/officeart/2005/8/layout/hierarchy6"/>
    <dgm:cxn modelId="{D2AE1E65-F0FB-4F9A-8304-09D1630F5FCF}" type="presParOf" srcId="{A3BCBE14-36B3-43D7-8D31-D5DA877440A9}" destId="{32DC9832-9A5F-45CD-B823-E6C081424223}" srcOrd="1" destOrd="0" presId="urn:microsoft.com/office/officeart/2005/8/layout/hierarchy6"/>
    <dgm:cxn modelId="{EF35351E-BBCE-48E2-9BB9-2D6D63FF3EB7}" type="presParOf" srcId="{32DC9832-9A5F-45CD-B823-E6C081424223}" destId="{CC671C13-58C6-4A76-B11E-E6832B3109E2}" srcOrd="0" destOrd="0" presId="urn:microsoft.com/office/officeart/2005/8/layout/hierarchy6"/>
    <dgm:cxn modelId="{D552E164-534A-4293-9A17-1CF1A68E0183}" type="presParOf" srcId="{32DC9832-9A5F-45CD-B823-E6C081424223}" destId="{AF877541-8CEE-4EA6-8949-6BE5CEF61B3F}" srcOrd="1" destOrd="0" presId="urn:microsoft.com/office/officeart/2005/8/layout/hierarchy6"/>
    <dgm:cxn modelId="{110658AF-A38A-43D2-8E5C-ED588EF33015}" type="presParOf" srcId="{AF877541-8CEE-4EA6-8949-6BE5CEF61B3F}" destId="{AB967EAA-DF23-45A5-9E22-79489EF07869}" srcOrd="0" destOrd="0" presId="urn:microsoft.com/office/officeart/2005/8/layout/hierarchy6"/>
    <dgm:cxn modelId="{D196A8C6-830F-40B3-B3DF-23F9F2CE9A22}" type="presParOf" srcId="{AF877541-8CEE-4EA6-8949-6BE5CEF61B3F}" destId="{F7BED830-DAB0-4DE4-909A-C5BE88F8ABC8}" srcOrd="1" destOrd="0" presId="urn:microsoft.com/office/officeart/2005/8/layout/hierarchy6"/>
    <dgm:cxn modelId="{55F55C7D-0769-4858-B678-EDCD8446CC28}" type="presParOf" srcId="{F7BED830-DAB0-4DE4-909A-C5BE88F8ABC8}" destId="{1883F37A-67B2-43AA-A6BB-8B26883AD956}" srcOrd="0" destOrd="0" presId="urn:microsoft.com/office/officeart/2005/8/layout/hierarchy6"/>
    <dgm:cxn modelId="{74A34EF8-2F16-424A-B98E-1C7ABEA170D8}" type="presParOf" srcId="{F7BED830-DAB0-4DE4-909A-C5BE88F8ABC8}" destId="{1F4F8DEE-8067-4825-9B3D-246BE92200D2}" srcOrd="1" destOrd="0" presId="urn:microsoft.com/office/officeart/2005/8/layout/hierarchy6"/>
    <dgm:cxn modelId="{53D499A4-1862-4A3C-AA8D-978B22BC7BE5}" type="presParOf" srcId="{AF877541-8CEE-4EA6-8949-6BE5CEF61B3F}" destId="{16302290-C701-4DAB-B485-8240FB4ABACC}" srcOrd="2" destOrd="0" presId="urn:microsoft.com/office/officeart/2005/8/layout/hierarchy6"/>
    <dgm:cxn modelId="{9AC3E90E-C7CA-44C7-BAEE-C2EB0DA028B2}" type="presParOf" srcId="{AF877541-8CEE-4EA6-8949-6BE5CEF61B3F}" destId="{11F353A1-9C27-4224-B3F5-320A74FE6B46}" srcOrd="3" destOrd="0" presId="urn:microsoft.com/office/officeart/2005/8/layout/hierarchy6"/>
    <dgm:cxn modelId="{AF8C1550-CB6E-49F8-8589-69422608F1DD}" type="presParOf" srcId="{11F353A1-9C27-4224-B3F5-320A74FE6B46}" destId="{E7D9F28C-72DC-4E52-8FB1-3E79BF90BD3D}" srcOrd="0" destOrd="0" presId="urn:microsoft.com/office/officeart/2005/8/layout/hierarchy6"/>
    <dgm:cxn modelId="{4DE7DFDA-586B-4D2F-A5A9-376CA894C97A}" type="presParOf" srcId="{11F353A1-9C27-4224-B3F5-320A74FE6B46}" destId="{023B1C3B-22AD-4D6A-B14F-9F7C01A0C09A}" srcOrd="1" destOrd="0" presId="urn:microsoft.com/office/officeart/2005/8/layout/hierarchy6"/>
    <dgm:cxn modelId="{CC532455-E96B-4257-BA50-9F84FF74D80B}" type="presParOf" srcId="{023B1C3B-22AD-4D6A-B14F-9F7C01A0C09A}" destId="{250A0804-1C40-449F-A81A-A9ADC5BC7A61}" srcOrd="0" destOrd="0" presId="urn:microsoft.com/office/officeart/2005/8/layout/hierarchy6"/>
    <dgm:cxn modelId="{51754E6C-C863-41DE-86A7-75B99C289EDC}" type="presParOf" srcId="{023B1C3B-22AD-4D6A-B14F-9F7C01A0C09A}" destId="{07B0CA90-450F-42D3-A7AA-9501EF614002}" srcOrd="1" destOrd="0" presId="urn:microsoft.com/office/officeart/2005/8/layout/hierarchy6"/>
    <dgm:cxn modelId="{0B33BAD3-CBEC-4C38-8A3D-5AD899378B1C}" type="presParOf" srcId="{07B0CA90-450F-42D3-A7AA-9501EF614002}" destId="{AA846796-AA5F-4B2F-9840-0925DB1FE69F}" srcOrd="0" destOrd="0" presId="urn:microsoft.com/office/officeart/2005/8/layout/hierarchy6"/>
    <dgm:cxn modelId="{C90AA58B-DD0C-4191-83FB-7F9F7D303EFB}" type="presParOf" srcId="{07B0CA90-450F-42D3-A7AA-9501EF614002}" destId="{1C8ED8BA-8EEF-458C-90F0-4B7FBACF3276}" srcOrd="1" destOrd="0" presId="urn:microsoft.com/office/officeart/2005/8/layout/hierarchy6"/>
    <dgm:cxn modelId="{B3DB50E7-BFB8-4FE6-9DF1-67FC3FC3A2AA}" type="presParOf" srcId="{023B1C3B-22AD-4D6A-B14F-9F7C01A0C09A}" destId="{D3C68F7C-DF79-4163-8AF7-E33CE0BF20C4}" srcOrd="2" destOrd="0" presId="urn:microsoft.com/office/officeart/2005/8/layout/hierarchy6"/>
    <dgm:cxn modelId="{D26CD175-2FDE-4CEA-8DE0-DBF1A9DA00FB}" type="presParOf" srcId="{023B1C3B-22AD-4D6A-B14F-9F7C01A0C09A}" destId="{CCF35D5B-0728-4CD7-AA3E-66EBBEAEEF70}" srcOrd="3" destOrd="0" presId="urn:microsoft.com/office/officeart/2005/8/layout/hierarchy6"/>
    <dgm:cxn modelId="{0306B36F-C760-460A-A7B8-71572D24A4F2}" type="presParOf" srcId="{CCF35D5B-0728-4CD7-AA3E-66EBBEAEEF70}" destId="{6F1F32DA-F2C0-4D86-A2E4-34B807564B5E}" srcOrd="0" destOrd="0" presId="urn:microsoft.com/office/officeart/2005/8/layout/hierarchy6"/>
    <dgm:cxn modelId="{A64B9ED9-61D7-4E57-933F-3E1A133087D2}" type="presParOf" srcId="{CCF35D5B-0728-4CD7-AA3E-66EBBEAEEF70}" destId="{4F9655E4-326A-4E0C-9006-33479F555D34}" srcOrd="1" destOrd="0" presId="urn:microsoft.com/office/officeart/2005/8/layout/hierarchy6"/>
    <dgm:cxn modelId="{D343E10C-A116-42F4-81FE-EFF638941E48}" type="presParOf" srcId="{023B1C3B-22AD-4D6A-B14F-9F7C01A0C09A}" destId="{BEEBD014-CFC8-46D3-B010-871D4607FCF0}" srcOrd="4" destOrd="0" presId="urn:microsoft.com/office/officeart/2005/8/layout/hierarchy6"/>
    <dgm:cxn modelId="{CFC8866D-0B24-49DB-8389-295AD4BE6325}" type="presParOf" srcId="{023B1C3B-22AD-4D6A-B14F-9F7C01A0C09A}" destId="{D6FA5204-3142-47A3-8C3A-C2E2DDF5B222}" srcOrd="5" destOrd="0" presId="urn:microsoft.com/office/officeart/2005/8/layout/hierarchy6"/>
    <dgm:cxn modelId="{0543FC5C-F2C2-44E2-B46D-50CF097384A0}" type="presParOf" srcId="{D6FA5204-3142-47A3-8C3A-C2E2DDF5B222}" destId="{97C1621B-FFE7-4595-AF02-D305C7CE7479}" srcOrd="0" destOrd="0" presId="urn:microsoft.com/office/officeart/2005/8/layout/hierarchy6"/>
    <dgm:cxn modelId="{28DD1270-CF02-4D6C-ABA6-BE278F0D1ADA}" type="presParOf" srcId="{D6FA5204-3142-47A3-8C3A-C2E2DDF5B222}" destId="{CBABE683-3241-45F6-9583-0F8A92D6F168}" srcOrd="1" destOrd="0" presId="urn:microsoft.com/office/officeart/2005/8/layout/hierarchy6"/>
    <dgm:cxn modelId="{A7290A2C-6074-4048-83E0-7ADEECAE3B61}" type="presParOf" srcId="{CBABE683-3241-45F6-9583-0F8A92D6F168}" destId="{94782508-8EE4-44B3-9499-2ADABCA82DA2}" srcOrd="0" destOrd="0" presId="urn:microsoft.com/office/officeart/2005/8/layout/hierarchy6"/>
    <dgm:cxn modelId="{D6B22A09-DCE6-4601-A92C-7E3617396FAF}" type="presParOf" srcId="{CBABE683-3241-45F6-9583-0F8A92D6F168}" destId="{204C0481-922E-4EA9-A834-18A6D64F552D}" srcOrd="1" destOrd="0" presId="urn:microsoft.com/office/officeart/2005/8/layout/hierarchy6"/>
    <dgm:cxn modelId="{02E1D817-AA96-4D9F-888F-6CBABB4CBBB1}" type="presParOf" srcId="{204C0481-922E-4EA9-A834-18A6D64F552D}" destId="{C7A741EB-9991-4FA7-BDEE-F85AB7E44177}" srcOrd="0" destOrd="0" presId="urn:microsoft.com/office/officeart/2005/8/layout/hierarchy6"/>
    <dgm:cxn modelId="{A32C85E4-4357-4874-9729-0C31D07B76C5}" type="presParOf" srcId="{204C0481-922E-4EA9-A834-18A6D64F552D}" destId="{0805C69A-67E8-46EC-8C99-DB80D6F7F382}" srcOrd="1" destOrd="0" presId="urn:microsoft.com/office/officeart/2005/8/layout/hierarchy6"/>
    <dgm:cxn modelId="{4DEF37AF-D835-44EA-821C-01008C4EC62A}" type="presParOf" srcId="{CBABE683-3241-45F6-9583-0F8A92D6F168}" destId="{AB0202CE-5EC8-48BC-A497-623197E4857D}" srcOrd="2" destOrd="0" presId="urn:microsoft.com/office/officeart/2005/8/layout/hierarchy6"/>
    <dgm:cxn modelId="{728D82BE-7C41-4258-B026-0DA736A0E0B4}" type="presParOf" srcId="{CBABE683-3241-45F6-9583-0F8A92D6F168}" destId="{A2037211-3ED2-4169-99E0-B747919A016D}" srcOrd="3" destOrd="0" presId="urn:microsoft.com/office/officeart/2005/8/layout/hierarchy6"/>
    <dgm:cxn modelId="{CBA9678F-2517-4254-ADAB-FC31CD57AA83}" type="presParOf" srcId="{A2037211-3ED2-4169-99E0-B747919A016D}" destId="{926AF119-23A1-4014-8659-50DA4304A5B8}" srcOrd="0" destOrd="0" presId="urn:microsoft.com/office/officeart/2005/8/layout/hierarchy6"/>
    <dgm:cxn modelId="{4ECD212A-EE2F-4758-922E-3B23A3E34A10}" type="presParOf" srcId="{A2037211-3ED2-4169-99E0-B747919A016D}" destId="{7F8E9BE5-4DE2-4893-9172-ED70ADA361FB}" srcOrd="1" destOrd="0" presId="urn:microsoft.com/office/officeart/2005/8/layout/hierarchy6"/>
    <dgm:cxn modelId="{F5C4A6F2-328C-4EC7-8144-EACDDFA5CFF4}" type="presParOf" srcId="{CBABE683-3241-45F6-9583-0F8A92D6F168}" destId="{A95C36C4-8283-4B01-9672-FA29E979D380}" srcOrd="4" destOrd="0" presId="urn:microsoft.com/office/officeart/2005/8/layout/hierarchy6"/>
    <dgm:cxn modelId="{DFAC6C1A-ED9F-4FAA-9920-A6C33E07FD73}" type="presParOf" srcId="{CBABE683-3241-45F6-9583-0F8A92D6F168}" destId="{1BC27D5E-A0B5-47DE-AD59-492B99952EC6}" srcOrd="5" destOrd="0" presId="urn:microsoft.com/office/officeart/2005/8/layout/hierarchy6"/>
    <dgm:cxn modelId="{F6C0E0E5-FC8E-41FE-A1A8-8B72F09D7240}" type="presParOf" srcId="{1BC27D5E-A0B5-47DE-AD59-492B99952EC6}" destId="{582AD9B7-8F29-4F13-95B3-C1CD7231370D}" srcOrd="0" destOrd="0" presId="urn:microsoft.com/office/officeart/2005/8/layout/hierarchy6"/>
    <dgm:cxn modelId="{0F0BA336-0299-43BB-9E45-84DF752DDDD9}" type="presParOf" srcId="{1BC27D5E-A0B5-47DE-AD59-492B99952EC6}" destId="{8F1ED137-738F-4D02-92CE-B76704B9B026}" srcOrd="1" destOrd="0" presId="urn:microsoft.com/office/officeart/2005/8/layout/hierarchy6"/>
    <dgm:cxn modelId="{E0783C80-421C-4A31-84E5-B992C5E5BABE}" type="presParOf" srcId="{023B1C3B-22AD-4D6A-B14F-9F7C01A0C09A}" destId="{A5DEEF18-0418-453C-BFDD-B6504EB93C71}" srcOrd="6" destOrd="0" presId="urn:microsoft.com/office/officeart/2005/8/layout/hierarchy6"/>
    <dgm:cxn modelId="{80AB0B34-0FC6-4CD4-A9E5-314F0F4506C6}" type="presParOf" srcId="{023B1C3B-22AD-4D6A-B14F-9F7C01A0C09A}" destId="{002179F9-5CCC-4235-BA71-E6017709DE9E}" srcOrd="7" destOrd="0" presId="urn:microsoft.com/office/officeart/2005/8/layout/hierarchy6"/>
    <dgm:cxn modelId="{D967AAE5-DDEE-41E3-9058-4B06530601E6}" type="presParOf" srcId="{002179F9-5CCC-4235-BA71-E6017709DE9E}" destId="{9C774485-74FF-41BF-A922-3BC57F331365}" srcOrd="0" destOrd="0" presId="urn:microsoft.com/office/officeart/2005/8/layout/hierarchy6"/>
    <dgm:cxn modelId="{69DAD230-17FE-4EDE-A337-7D82746AA1A0}" type="presParOf" srcId="{002179F9-5CCC-4235-BA71-E6017709DE9E}" destId="{2B69C929-46CF-4274-A9EA-017FEBE1B069}" srcOrd="1" destOrd="0" presId="urn:microsoft.com/office/officeart/2005/8/layout/hierarchy6"/>
    <dgm:cxn modelId="{61AB5740-9578-4108-AE83-768CFD33755F}" type="presParOf" srcId="{A3BCBE14-36B3-43D7-8D31-D5DA877440A9}" destId="{C950A479-0EB6-41A5-88B4-4BF566C00EA3}" srcOrd="2" destOrd="0" presId="urn:microsoft.com/office/officeart/2005/8/layout/hierarchy6"/>
    <dgm:cxn modelId="{C34E0CC0-D109-49F1-8F9A-60960CF8A782}" type="presParOf" srcId="{A3BCBE14-36B3-43D7-8D31-D5DA877440A9}" destId="{ECF1DA17-6D02-470D-914F-18B76B4A6462}" srcOrd="3" destOrd="0" presId="urn:microsoft.com/office/officeart/2005/8/layout/hierarchy6"/>
    <dgm:cxn modelId="{7A5A0503-4974-4C05-8E84-B14FF2BA5679}" type="presParOf" srcId="{ECF1DA17-6D02-470D-914F-18B76B4A6462}" destId="{9976998B-5F74-4238-81FE-9DF932002021}" srcOrd="0" destOrd="0" presId="urn:microsoft.com/office/officeart/2005/8/layout/hierarchy6"/>
    <dgm:cxn modelId="{762B19B2-E4CA-4B67-86F7-C6ADFD5DF372}" type="presParOf" srcId="{ECF1DA17-6D02-470D-914F-18B76B4A6462}" destId="{1B6DF276-75E4-4144-827A-FF30E4C6C084}" srcOrd="1" destOrd="0" presId="urn:microsoft.com/office/officeart/2005/8/layout/hierarchy6"/>
    <dgm:cxn modelId="{AA18D9C8-1284-4A40-851D-B39379253482}" type="presParOf" srcId="{1B6DF276-75E4-4144-827A-FF30E4C6C084}" destId="{70A3C057-5949-423F-A85F-D2B079D4D4B1}" srcOrd="0" destOrd="0" presId="urn:microsoft.com/office/officeart/2005/8/layout/hierarchy6"/>
    <dgm:cxn modelId="{EE681CF3-5D65-424D-82A6-28797F2B8617}" type="presParOf" srcId="{1B6DF276-75E4-4144-827A-FF30E4C6C084}" destId="{22A558AF-9C71-4C9C-8C3B-EE4A8DE9C4CE}" srcOrd="1" destOrd="0" presId="urn:microsoft.com/office/officeart/2005/8/layout/hierarchy6"/>
    <dgm:cxn modelId="{3D32D4C2-4B34-4D92-87D2-BC7815D20DE4}" type="presParOf" srcId="{22A558AF-9C71-4C9C-8C3B-EE4A8DE9C4CE}" destId="{45B58C7B-2F8F-4E80-A5DA-23D84E4DABE3}" srcOrd="0" destOrd="0" presId="urn:microsoft.com/office/officeart/2005/8/layout/hierarchy6"/>
    <dgm:cxn modelId="{C9A30A42-DE42-4067-B7AC-35CBCBB8664C}" type="presParOf" srcId="{22A558AF-9C71-4C9C-8C3B-EE4A8DE9C4CE}" destId="{5AAC6F33-554A-464F-863C-48C534F4D890}" srcOrd="1" destOrd="0" presId="urn:microsoft.com/office/officeart/2005/8/layout/hierarchy6"/>
    <dgm:cxn modelId="{354EEF0A-FC67-4798-A69B-2F45840A31AE}" type="presParOf" srcId="{1B6DF276-75E4-4144-827A-FF30E4C6C084}" destId="{ED670C13-4ADD-44CA-9D66-F0E0A43860CC}" srcOrd="2" destOrd="0" presId="urn:microsoft.com/office/officeart/2005/8/layout/hierarchy6"/>
    <dgm:cxn modelId="{BAD15EF1-36A5-4D5C-AFCC-B16C3C48BF6D}" type="presParOf" srcId="{1B6DF276-75E4-4144-827A-FF30E4C6C084}" destId="{378F0CA8-9048-4E47-A39B-A0CC05A748A1}" srcOrd="3" destOrd="0" presId="urn:microsoft.com/office/officeart/2005/8/layout/hierarchy6"/>
    <dgm:cxn modelId="{0B79FA01-CB89-438E-BF75-022256AFF8A6}" type="presParOf" srcId="{378F0CA8-9048-4E47-A39B-A0CC05A748A1}" destId="{D587AC4A-F51E-4C6D-8BFA-941245E20B69}" srcOrd="0" destOrd="0" presId="urn:microsoft.com/office/officeart/2005/8/layout/hierarchy6"/>
    <dgm:cxn modelId="{9E6D8734-4FDB-480F-9CE6-67144B760F0A}" type="presParOf" srcId="{378F0CA8-9048-4E47-A39B-A0CC05A748A1}" destId="{DC9F8F07-7F93-443E-9E35-9D23757436E4}" srcOrd="1" destOrd="0" presId="urn:microsoft.com/office/officeart/2005/8/layout/hierarchy6"/>
    <dgm:cxn modelId="{E22F9426-8E88-4387-AF23-A9451B1F8FF6}" type="presParOf" srcId="{1B6DF276-75E4-4144-827A-FF30E4C6C084}" destId="{DCB6E461-FF44-4EDA-AF30-EB89DB9B80DF}" srcOrd="4" destOrd="0" presId="urn:microsoft.com/office/officeart/2005/8/layout/hierarchy6"/>
    <dgm:cxn modelId="{549D6771-366E-4117-9791-BC7F76B9CB3C}" type="presParOf" srcId="{1B6DF276-75E4-4144-827A-FF30E4C6C084}" destId="{EC8BA09A-7049-4D76-9B87-5E5494D86537}" srcOrd="5" destOrd="0" presId="urn:microsoft.com/office/officeart/2005/8/layout/hierarchy6"/>
    <dgm:cxn modelId="{8ADFBD68-0DD1-475D-8DF1-E1FC50E61177}" type="presParOf" srcId="{EC8BA09A-7049-4D76-9B87-5E5494D86537}" destId="{E6C1B0F9-EDA3-45C8-8CF3-540E20D77FE0}" srcOrd="0" destOrd="0" presId="urn:microsoft.com/office/officeart/2005/8/layout/hierarchy6"/>
    <dgm:cxn modelId="{2F880728-9548-4746-855B-4C08EB4DF2B4}" type="presParOf" srcId="{EC8BA09A-7049-4D76-9B87-5E5494D86537}" destId="{E12D9959-AF1F-48FA-8F22-646731DB5173}" srcOrd="1" destOrd="0" presId="urn:microsoft.com/office/officeart/2005/8/layout/hierarchy6"/>
    <dgm:cxn modelId="{95D010D2-BC01-45AB-A6A9-A38BCC6681D5}" type="presParOf" srcId="{E12D9959-AF1F-48FA-8F22-646731DB5173}" destId="{E10F6EF7-BA34-4DD7-B0CB-6215B1A63FDF}" srcOrd="0" destOrd="0" presId="urn:microsoft.com/office/officeart/2005/8/layout/hierarchy6"/>
    <dgm:cxn modelId="{251286AC-7197-4EC5-ACFA-9FAEFEB3FE11}" type="presParOf" srcId="{E12D9959-AF1F-48FA-8F22-646731DB5173}" destId="{218E8D31-E150-4C5A-898D-9CD6D7ECE535}" srcOrd="1" destOrd="0" presId="urn:microsoft.com/office/officeart/2005/8/layout/hierarchy6"/>
    <dgm:cxn modelId="{B8B88A78-4254-4E52-88F4-D2085CF2FC68}" type="presParOf" srcId="{218E8D31-E150-4C5A-898D-9CD6D7ECE535}" destId="{38636472-2FAB-4308-9CE8-9FE29BAEDC7E}" srcOrd="0" destOrd="0" presId="urn:microsoft.com/office/officeart/2005/8/layout/hierarchy6"/>
    <dgm:cxn modelId="{86B9BBDD-BBF4-46C2-A2C6-231C35A11AF6}" type="presParOf" srcId="{218E8D31-E150-4C5A-898D-9CD6D7ECE535}" destId="{2C93EC22-5EB1-4147-ADEE-7D36127BFFD3}" srcOrd="1" destOrd="0" presId="urn:microsoft.com/office/officeart/2005/8/layout/hierarchy6"/>
    <dgm:cxn modelId="{A36B1CEC-1435-41A4-89D5-26211D85BA5F}" type="presParOf" srcId="{E12D9959-AF1F-48FA-8F22-646731DB5173}" destId="{D88E10BA-53E6-467C-A7E0-06436D9E61BE}" srcOrd="2" destOrd="0" presId="urn:microsoft.com/office/officeart/2005/8/layout/hierarchy6"/>
    <dgm:cxn modelId="{07FA9EDF-FB56-4B39-8B10-AF6A600C8CF1}" type="presParOf" srcId="{E12D9959-AF1F-48FA-8F22-646731DB5173}" destId="{C4E8BB8B-EF2E-4F03-9F8E-B25779FF9BCA}" srcOrd="3" destOrd="0" presId="urn:microsoft.com/office/officeart/2005/8/layout/hierarchy6"/>
    <dgm:cxn modelId="{B1BE955F-5859-4352-B871-E4677EDE3E1E}" type="presParOf" srcId="{C4E8BB8B-EF2E-4F03-9F8E-B25779FF9BCA}" destId="{4AFBDA1C-C874-4F01-AF37-C3096FED922E}" srcOrd="0" destOrd="0" presId="urn:microsoft.com/office/officeart/2005/8/layout/hierarchy6"/>
    <dgm:cxn modelId="{D0EF94D6-803D-4C74-A1F2-074130C4AED2}" type="presParOf" srcId="{C4E8BB8B-EF2E-4F03-9F8E-B25779FF9BCA}" destId="{F0B29A47-B437-415C-A1BD-6B7DAE5F2180}" srcOrd="1" destOrd="0" presId="urn:microsoft.com/office/officeart/2005/8/layout/hierarchy6"/>
    <dgm:cxn modelId="{657A30EE-8EB1-40DB-9664-866FECC72F6E}" type="presParOf" srcId="{E12D9959-AF1F-48FA-8F22-646731DB5173}" destId="{72EBBE43-285A-47BC-9CD8-6D2E6113B1E2}" srcOrd="4" destOrd="0" presId="urn:microsoft.com/office/officeart/2005/8/layout/hierarchy6"/>
    <dgm:cxn modelId="{3648D94F-3468-40AC-BCD5-202BC03197E0}" type="presParOf" srcId="{E12D9959-AF1F-48FA-8F22-646731DB5173}" destId="{96951545-B1FB-4A7A-81C3-65FBE31D13BD}" srcOrd="5" destOrd="0" presId="urn:microsoft.com/office/officeart/2005/8/layout/hierarchy6"/>
    <dgm:cxn modelId="{C631E70A-6540-4200-8C07-A26F4CC85969}" type="presParOf" srcId="{96951545-B1FB-4A7A-81C3-65FBE31D13BD}" destId="{0A8C54FF-7D2E-46A8-BA71-B84296E5E964}" srcOrd="0" destOrd="0" presId="urn:microsoft.com/office/officeart/2005/8/layout/hierarchy6"/>
    <dgm:cxn modelId="{A8913D25-43D7-47AE-926B-6EA3AC30F8CF}" type="presParOf" srcId="{96951545-B1FB-4A7A-81C3-65FBE31D13BD}" destId="{AF8BBE8F-F37C-4A6D-90EE-1D66213AC75A}" srcOrd="1" destOrd="0" presId="urn:microsoft.com/office/officeart/2005/8/layout/hierarchy6"/>
    <dgm:cxn modelId="{0978B95D-6B5A-424A-9EBE-D84306F0538A}" type="presParOf" srcId="{AF8BBE8F-F37C-4A6D-90EE-1D66213AC75A}" destId="{F291E371-CD14-403D-A723-65A03D12A7FF}" srcOrd="0" destOrd="0" presId="urn:microsoft.com/office/officeart/2005/8/layout/hierarchy6"/>
    <dgm:cxn modelId="{3574FE88-6B87-4695-BA12-81A6925C2FDA}" type="presParOf" srcId="{AF8BBE8F-F37C-4A6D-90EE-1D66213AC75A}" destId="{93697330-7A91-456D-96F4-7D194A5B2B24}" srcOrd="1" destOrd="0" presId="urn:microsoft.com/office/officeart/2005/8/layout/hierarchy6"/>
    <dgm:cxn modelId="{A9C49288-DF76-451A-AB2E-7BAAD4C55546}" type="presParOf" srcId="{93697330-7A91-456D-96F4-7D194A5B2B24}" destId="{393D0264-7D93-463D-91A9-934FC57FFF7F}" srcOrd="0" destOrd="0" presId="urn:microsoft.com/office/officeart/2005/8/layout/hierarchy6"/>
    <dgm:cxn modelId="{7056B1C5-099C-444D-96D9-8E23CA33E187}" type="presParOf" srcId="{93697330-7A91-456D-96F4-7D194A5B2B24}" destId="{11A76D09-0D09-4127-ABB3-69400B83464C}" srcOrd="1" destOrd="0" presId="urn:microsoft.com/office/officeart/2005/8/layout/hierarchy6"/>
    <dgm:cxn modelId="{4B2C4366-CB31-4D7C-BD77-BBD53D97A934}" type="presParOf" srcId="{A3BCBE14-36B3-43D7-8D31-D5DA877440A9}" destId="{0A2B502C-2983-4F3C-80EA-EFB6C1B8D582}" srcOrd="4" destOrd="0" presId="urn:microsoft.com/office/officeart/2005/8/layout/hierarchy6"/>
    <dgm:cxn modelId="{0DAC466E-1B2B-4E0E-8F01-16AFB3C333F1}" type="presParOf" srcId="{A3BCBE14-36B3-43D7-8D31-D5DA877440A9}" destId="{372B1458-3965-4AA4-AF78-D649C75CB170}" srcOrd="5" destOrd="0" presId="urn:microsoft.com/office/officeart/2005/8/layout/hierarchy6"/>
    <dgm:cxn modelId="{007B13B4-0995-4EA1-B670-92C4ED534951}" type="presParOf" srcId="{372B1458-3965-4AA4-AF78-D649C75CB170}" destId="{00AB41C9-6D2A-4640-86FB-7C5B89DA0554}" srcOrd="0" destOrd="0" presId="urn:microsoft.com/office/officeart/2005/8/layout/hierarchy6"/>
    <dgm:cxn modelId="{B2D2C2A4-D7F0-4A8B-A659-343F68B9C568}" type="presParOf" srcId="{372B1458-3965-4AA4-AF78-D649C75CB170}" destId="{8EB01700-1C58-4437-BF1B-2650534515E4}" srcOrd="1" destOrd="0" presId="urn:microsoft.com/office/officeart/2005/8/layout/hierarchy6"/>
    <dgm:cxn modelId="{FB255AE6-DF06-4D90-9061-D322E265B0FD}" type="presParOf" srcId="{BD2EEC77-DE7D-4CA6-9280-0184BF505BD2}" destId="{9D735DF0-8CAC-402F-B50B-440C630377AF}" srcOrd="1" destOrd="0" presId="urn:microsoft.com/office/officeart/2005/8/layout/hierarchy6"/>
    <dgm:cxn modelId="{8C2EE9A5-AAB5-4075-9102-490D4226059B}" type="presParOf" srcId="{9D735DF0-8CAC-402F-B50B-440C630377AF}" destId="{235A0773-7E47-46E6-9210-5439C784413C}" srcOrd="0" destOrd="0" presId="urn:microsoft.com/office/officeart/2005/8/layout/hierarchy6"/>
    <dgm:cxn modelId="{508BE727-27B5-496D-A7C4-EFCCE458E1DC}" type="presParOf" srcId="{235A0773-7E47-46E6-9210-5439C784413C}" destId="{789920EF-67C2-44D1-9100-51B6F3F7EB7C}" srcOrd="0" destOrd="0" presId="urn:microsoft.com/office/officeart/2005/8/layout/hierarchy6"/>
    <dgm:cxn modelId="{C98AA529-9F06-478E-A113-41EC6EC26206}" type="presParOf" srcId="{235A0773-7E47-46E6-9210-5439C784413C}" destId="{C06B3BEE-0D0D-407E-8167-C0A94A3F6898}" srcOrd="1" destOrd="0" presId="urn:microsoft.com/office/officeart/2005/8/layout/hierarchy6"/>
    <dgm:cxn modelId="{18D260F0-A0FA-471D-BD3E-9D395EA6927F}" type="presParOf" srcId="{9D735DF0-8CAC-402F-B50B-440C630377AF}" destId="{C622D8B6-F623-48F6-A34A-CB105A79FA63}" srcOrd="1" destOrd="0" presId="urn:microsoft.com/office/officeart/2005/8/layout/hierarchy6"/>
    <dgm:cxn modelId="{D3E79F69-A8C6-4825-B72E-475E2A5B51F7}" type="presParOf" srcId="{C622D8B6-F623-48F6-A34A-CB105A79FA63}" destId="{0C832FD4-4B77-4989-AD70-35AF72E97E37}" srcOrd="0" destOrd="0" presId="urn:microsoft.com/office/officeart/2005/8/layout/hierarchy6"/>
    <dgm:cxn modelId="{4593DCEB-B86B-497F-B808-9F540F033863}" type="presParOf" srcId="{9D735DF0-8CAC-402F-B50B-440C630377AF}" destId="{22CFF7D7-B687-462E-B912-C05ACDF03826}" srcOrd="2" destOrd="0" presId="urn:microsoft.com/office/officeart/2005/8/layout/hierarchy6"/>
    <dgm:cxn modelId="{5889B338-1790-4CF8-8763-776CCEF001CC}" type="presParOf" srcId="{22CFF7D7-B687-462E-B912-C05ACDF03826}" destId="{68233D1F-A65A-4786-B45D-09F14ABA5279}" srcOrd="0" destOrd="0" presId="urn:microsoft.com/office/officeart/2005/8/layout/hierarchy6"/>
    <dgm:cxn modelId="{8874BF8F-3C0E-41F2-B33D-6BAB75D76250}" type="presParOf" srcId="{22CFF7D7-B687-462E-B912-C05ACDF03826}" destId="{0699492C-BF87-4F7F-B00B-DBDFC359C84D}"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D517669-2749-48FF-B840-74BE8EB2D3AE}" type="doc">
      <dgm:prSet loTypeId="urn:microsoft.com/office/officeart/2005/8/layout/cycle8" loCatId="cycle" qsTypeId="urn:microsoft.com/office/officeart/2005/8/quickstyle/simple1" qsCatId="simple" csTypeId="urn:microsoft.com/office/officeart/2005/8/colors/colorful2" csCatId="colorful" phldr="1"/>
      <dgm:spPr/>
    </dgm:pt>
    <dgm:pt modelId="{E4F38609-5F2D-4CA3-8C08-87C706FEE92B}">
      <dgm:prSet phldrT="[Text]" custT="1"/>
      <dgm:spPr>
        <a:solidFill>
          <a:srgbClr val="0070C0"/>
        </a:solidFill>
      </dgm:spPr>
      <dgm:t>
        <a:bodyPr/>
        <a:lstStyle/>
        <a:p>
          <a:r>
            <a:rPr lang="en-US" sz="3600" b="1" dirty="0"/>
            <a:t>Question Driven Conversations</a:t>
          </a:r>
        </a:p>
      </dgm:t>
    </dgm:pt>
    <dgm:pt modelId="{C124F2C6-6D6D-4704-94D4-3C4DC979B200}" type="parTrans" cxnId="{941BC2CD-D655-4AB6-A286-5C0155010D05}">
      <dgm:prSet/>
      <dgm:spPr/>
      <dgm:t>
        <a:bodyPr/>
        <a:lstStyle/>
        <a:p>
          <a:endParaRPr lang="en-US"/>
        </a:p>
      </dgm:t>
    </dgm:pt>
    <dgm:pt modelId="{DD38D113-468A-4869-B2B5-42CBC6172E31}" type="sibTrans" cxnId="{941BC2CD-D655-4AB6-A286-5C0155010D05}">
      <dgm:prSet/>
      <dgm:spPr/>
      <dgm:t>
        <a:bodyPr/>
        <a:lstStyle/>
        <a:p>
          <a:endParaRPr lang="en-US"/>
        </a:p>
      </dgm:t>
    </dgm:pt>
    <dgm:pt modelId="{0741BF45-9671-4A96-BA65-265CDC94AB8E}">
      <dgm:prSet phldrT="[Text]" custT="1"/>
      <dgm:spPr>
        <a:solidFill>
          <a:srgbClr val="00B0F0"/>
        </a:solidFill>
      </dgm:spPr>
      <dgm:t>
        <a:bodyPr/>
        <a:lstStyle/>
        <a:p>
          <a:r>
            <a:rPr lang="en-US" sz="2800" b="1" dirty="0"/>
            <a:t>Common Workplace Conversations and Communications:</a:t>
          </a:r>
        </a:p>
        <a:p>
          <a:r>
            <a:rPr lang="en-US" sz="3600" b="1" dirty="0"/>
            <a:t>Tasks, Projects, Updates, etc.</a:t>
          </a:r>
        </a:p>
      </dgm:t>
    </dgm:pt>
    <dgm:pt modelId="{75F83DA1-A9CD-4F4F-9CD5-BFC92F71E142}" type="parTrans" cxnId="{5397CF6D-EC83-45C3-91BD-43E9ABE3A7B7}">
      <dgm:prSet/>
      <dgm:spPr/>
      <dgm:t>
        <a:bodyPr/>
        <a:lstStyle/>
        <a:p>
          <a:endParaRPr lang="en-US"/>
        </a:p>
      </dgm:t>
    </dgm:pt>
    <dgm:pt modelId="{D0FDA233-3644-4CCD-B254-2C6735CC6975}" type="sibTrans" cxnId="{5397CF6D-EC83-45C3-91BD-43E9ABE3A7B7}">
      <dgm:prSet/>
      <dgm:spPr/>
      <dgm:t>
        <a:bodyPr/>
        <a:lstStyle/>
        <a:p>
          <a:endParaRPr lang="en-US"/>
        </a:p>
      </dgm:t>
    </dgm:pt>
    <dgm:pt modelId="{418618DC-E16C-44AA-9F7B-3B3C04870FEC}" type="pres">
      <dgm:prSet presAssocID="{0D517669-2749-48FF-B840-74BE8EB2D3AE}" presName="compositeShape" presStyleCnt="0">
        <dgm:presLayoutVars>
          <dgm:chMax val="7"/>
          <dgm:dir/>
          <dgm:resizeHandles val="exact"/>
        </dgm:presLayoutVars>
      </dgm:prSet>
      <dgm:spPr/>
    </dgm:pt>
    <dgm:pt modelId="{A9BAC268-89F7-48CC-AB0F-8F483A7C500A}" type="pres">
      <dgm:prSet presAssocID="{0D517669-2749-48FF-B840-74BE8EB2D3AE}" presName="wedge1" presStyleLbl="node1" presStyleIdx="0" presStyleCnt="2"/>
      <dgm:spPr/>
    </dgm:pt>
    <dgm:pt modelId="{521C4156-ED3D-4C9F-B2CF-1EF7AC31376C}" type="pres">
      <dgm:prSet presAssocID="{0D517669-2749-48FF-B840-74BE8EB2D3AE}" presName="dummy1a" presStyleCnt="0"/>
      <dgm:spPr/>
    </dgm:pt>
    <dgm:pt modelId="{5C3D20CB-1CDE-4D07-B28C-3F49C07CB5BE}" type="pres">
      <dgm:prSet presAssocID="{0D517669-2749-48FF-B840-74BE8EB2D3AE}" presName="dummy1b" presStyleCnt="0"/>
      <dgm:spPr/>
    </dgm:pt>
    <dgm:pt modelId="{D2F4C2F8-1B11-4592-AD20-C329D43A61E4}" type="pres">
      <dgm:prSet presAssocID="{0D517669-2749-48FF-B840-74BE8EB2D3AE}" presName="wedge1Tx" presStyleLbl="node1" presStyleIdx="0" presStyleCnt="2">
        <dgm:presLayoutVars>
          <dgm:chMax val="0"/>
          <dgm:chPref val="0"/>
          <dgm:bulletEnabled val="1"/>
        </dgm:presLayoutVars>
      </dgm:prSet>
      <dgm:spPr/>
    </dgm:pt>
    <dgm:pt modelId="{1023F721-B617-48C7-BD24-DC596252B021}" type="pres">
      <dgm:prSet presAssocID="{0D517669-2749-48FF-B840-74BE8EB2D3AE}" presName="wedge2" presStyleLbl="node1" presStyleIdx="1" presStyleCnt="2"/>
      <dgm:spPr/>
    </dgm:pt>
    <dgm:pt modelId="{01A408B7-B791-4517-8618-53D37B3CA02F}" type="pres">
      <dgm:prSet presAssocID="{0D517669-2749-48FF-B840-74BE8EB2D3AE}" presName="dummy2a" presStyleCnt="0"/>
      <dgm:spPr/>
    </dgm:pt>
    <dgm:pt modelId="{7BC4AD59-D6BF-4DC3-B70E-CFC8B600DD85}" type="pres">
      <dgm:prSet presAssocID="{0D517669-2749-48FF-B840-74BE8EB2D3AE}" presName="dummy2b" presStyleCnt="0"/>
      <dgm:spPr/>
    </dgm:pt>
    <dgm:pt modelId="{86F1ADAB-B71C-48E1-A6A1-C7649D7B5483}" type="pres">
      <dgm:prSet presAssocID="{0D517669-2749-48FF-B840-74BE8EB2D3AE}" presName="wedge2Tx" presStyleLbl="node1" presStyleIdx="1" presStyleCnt="2">
        <dgm:presLayoutVars>
          <dgm:chMax val="0"/>
          <dgm:chPref val="0"/>
          <dgm:bulletEnabled val="1"/>
        </dgm:presLayoutVars>
      </dgm:prSet>
      <dgm:spPr/>
    </dgm:pt>
    <dgm:pt modelId="{6AC301A3-FA9A-4E5E-A9E0-C9A79A84738B}" type="pres">
      <dgm:prSet presAssocID="{DD38D113-468A-4869-B2B5-42CBC6172E31}" presName="arrowWedge1" presStyleLbl="fgSibTrans2D1" presStyleIdx="0" presStyleCnt="2"/>
      <dgm:spPr>
        <a:solidFill>
          <a:srgbClr val="92D050"/>
        </a:solidFill>
        <a:effectLst>
          <a:glow rad="139700">
            <a:schemeClr val="accent4">
              <a:satMod val="175000"/>
              <a:alpha val="40000"/>
            </a:schemeClr>
          </a:glow>
        </a:effectLst>
      </dgm:spPr>
    </dgm:pt>
    <dgm:pt modelId="{705E3B27-53FD-4278-A565-D1BD42107309}" type="pres">
      <dgm:prSet presAssocID="{D0FDA233-3644-4CCD-B254-2C6735CC6975}" presName="arrowWedge2" presStyleLbl="fgSibTrans2D1" presStyleIdx="1" presStyleCnt="2"/>
      <dgm:spPr>
        <a:solidFill>
          <a:srgbClr val="92D050"/>
        </a:solidFill>
        <a:effectLst>
          <a:glow rad="139700">
            <a:schemeClr val="accent4">
              <a:satMod val="175000"/>
              <a:alpha val="40000"/>
            </a:schemeClr>
          </a:glow>
        </a:effectLst>
      </dgm:spPr>
    </dgm:pt>
  </dgm:ptLst>
  <dgm:cxnLst>
    <dgm:cxn modelId="{5397CF6D-EC83-45C3-91BD-43E9ABE3A7B7}" srcId="{0D517669-2749-48FF-B840-74BE8EB2D3AE}" destId="{0741BF45-9671-4A96-BA65-265CDC94AB8E}" srcOrd="1" destOrd="0" parTransId="{75F83DA1-A9CD-4F4F-9CD5-BFC92F71E142}" sibTransId="{D0FDA233-3644-4CCD-B254-2C6735CC6975}"/>
    <dgm:cxn modelId="{C3124CB8-BE83-4D93-808F-9BFD56C3359E}" type="presOf" srcId="{0741BF45-9671-4A96-BA65-265CDC94AB8E}" destId="{86F1ADAB-B71C-48E1-A6A1-C7649D7B5483}" srcOrd="1" destOrd="0" presId="urn:microsoft.com/office/officeart/2005/8/layout/cycle8"/>
    <dgm:cxn modelId="{941BC2CD-D655-4AB6-A286-5C0155010D05}" srcId="{0D517669-2749-48FF-B840-74BE8EB2D3AE}" destId="{E4F38609-5F2D-4CA3-8C08-87C706FEE92B}" srcOrd="0" destOrd="0" parTransId="{C124F2C6-6D6D-4704-94D4-3C4DC979B200}" sibTransId="{DD38D113-468A-4869-B2B5-42CBC6172E31}"/>
    <dgm:cxn modelId="{656BBDD4-39B7-4B5A-8E62-5CFFA1DB13AA}" type="presOf" srcId="{0741BF45-9671-4A96-BA65-265CDC94AB8E}" destId="{1023F721-B617-48C7-BD24-DC596252B021}" srcOrd="0" destOrd="0" presId="urn:microsoft.com/office/officeart/2005/8/layout/cycle8"/>
    <dgm:cxn modelId="{37F4C4DB-D4A2-4C20-BB8A-04194B5129F8}" type="presOf" srcId="{0D517669-2749-48FF-B840-74BE8EB2D3AE}" destId="{418618DC-E16C-44AA-9F7B-3B3C04870FEC}" srcOrd="0" destOrd="0" presId="urn:microsoft.com/office/officeart/2005/8/layout/cycle8"/>
    <dgm:cxn modelId="{7A5C83E2-FC35-4AA1-8499-C1E1296C3989}" type="presOf" srcId="{E4F38609-5F2D-4CA3-8C08-87C706FEE92B}" destId="{A9BAC268-89F7-48CC-AB0F-8F483A7C500A}" srcOrd="0" destOrd="0" presId="urn:microsoft.com/office/officeart/2005/8/layout/cycle8"/>
    <dgm:cxn modelId="{BE5142E3-9BC1-4862-BD0C-A145B15F2572}" type="presOf" srcId="{E4F38609-5F2D-4CA3-8C08-87C706FEE92B}" destId="{D2F4C2F8-1B11-4592-AD20-C329D43A61E4}" srcOrd="1" destOrd="0" presId="urn:microsoft.com/office/officeart/2005/8/layout/cycle8"/>
    <dgm:cxn modelId="{F3D2153A-DCC1-454C-91BB-7020AB872456}" type="presParOf" srcId="{418618DC-E16C-44AA-9F7B-3B3C04870FEC}" destId="{A9BAC268-89F7-48CC-AB0F-8F483A7C500A}" srcOrd="0" destOrd="0" presId="urn:microsoft.com/office/officeart/2005/8/layout/cycle8"/>
    <dgm:cxn modelId="{5B081120-9946-4FF8-822B-DB326C6F95D9}" type="presParOf" srcId="{418618DC-E16C-44AA-9F7B-3B3C04870FEC}" destId="{521C4156-ED3D-4C9F-B2CF-1EF7AC31376C}" srcOrd="1" destOrd="0" presId="urn:microsoft.com/office/officeart/2005/8/layout/cycle8"/>
    <dgm:cxn modelId="{3E1D4355-4E1C-4BA0-9EAE-98551CBA465E}" type="presParOf" srcId="{418618DC-E16C-44AA-9F7B-3B3C04870FEC}" destId="{5C3D20CB-1CDE-4D07-B28C-3F49C07CB5BE}" srcOrd="2" destOrd="0" presId="urn:microsoft.com/office/officeart/2005/8/layout/cycle8"/>
    <dgm:cxn modelId="{9EC31B24-7DD7-44C7-958F-4F6CECD5FD24}" type="presParOf" srcId="{418618DC-E16C-44AA-9F7B-3B3C04870FEC}" destId="{D2F4C2F8-1B11-4592-AD20-C329D43A61E4}" srcOrd="3" destOrd="0" presId="urn:microsoft.com/office/officeart/2005/8/layout/cycle8"/>
    <dgm:cxn modelId="{98F896DC-C7FF-47BE-A6FD-8FD1B8E673B8}" type="presParOf" srcId="{418618DC-E16C-44AA-9F7B-3B3C04870FEC}" destId="{1023F721-B617-48C7-BD24-DC596252B021}" srcOrd="4" destOrd="0" presId="urn:microsoft.com/office/officeart/2005/8/layout/cycle8"/>
    <dgm:cxn modelId="{B7E80CFE-DBCB-44B8-8F94-F79EFEF246D0}" type="presParOf" srcId="{418618DC-E16C-44AA-9F7B-3B3C04870FEC}" destId="{01A408B7-B791-4517-8618-53D37B3CA02F}" srcOrd="5" destOrd="0" presId="urn:microsoft.com/office/officeart/2005/8/layout/cycle8"/>
    <dgm:cxn modelId="{CE90A8AD-4AEB-4831-BC03-F53E8304B797}" type="presParOf" srcId="{418618DC-E16C-44AA-9F7B-3B3C04870FEC}" destId="{7BC4AD59-D6BF-4DC3-B70E-CFC8B600DD85}" srcOrd="6" destOrd="0" presId="urn:microsoft.com/office/officeart/2005/8/layout/cycle8"/>
    <dgm:cxn modelId="{1F610383-2343-4957-A01C-1C868897C48B}" type="presParOf" srcId="{418618DC-E16C-44AA-9F7B-3B3C04870FEC}" destId="{86F1ADAB-B71C-48E1-A6A1-C7649D7B5483}" srcOrd="7" destOrd="0" presId="urn:microsoft.com/office/officeart/2005/8/layout/cycle8"/>
    <dgm:cxn modelId="{FDDEDEE0-E2A0-40E3-B4C2-66236342E06D}" type="presParOf" srcId="{418618DC-E16C-44AA-9F7B-3B3C04870FEC}" destId="{6AC301A3-FA9A-4E5E-A9E0-C9A79A84738B}" srcOrd="8" destOrd="0" presId="urn:microsoft.com/office/officeart/2005/8/layout/cycle8"/>
    <dgm:cxn modelId="{334A3814-6633-4F10-8AB1-4F647D0FAE20}" type="presParOf" srcId="{418618DC-E16C-44AA-9F7B-3B3C04870FEC}" destId="{705E3B27-53FD-4278-A565-D1BD42107309}" srcOrd="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B4DAB0F-3842-4550-B5F7-D0F92441F5DC}" type="doc">
      <dgm:prSet loTypeId="urn:microsoft.com/office/officeart/2005/8/layout/hProcess9" loCatId="process" qsTypeId="urn:microsoft.com/office/officeart/2005/8/quickstyle/simple1" qsCatId="simple" csTypeId="urn:microsoft.com/office/officeart/2005/8/colors/accent1_2" csCatId="accent1" phldr="1"/>
      <dgm:spPr/>
    </dgm:pt>
    <dgm:pt modelId="{C54C5581-1B40-42E2-B9CA-7FB99C2F11FC}" type="pres">
      <dgm:prSet presAssocID="{3B4DAB0F-3842-4550-B5F7-D0F92441F5DC}" presName="CompostProcess" presStyleCnt="0">
        <dgm:presLayoutVars>
          <dgm:dir/>
          <dgm:resizeHandles val="exact"/>
        </dgm:presLayoutVars>
      </dgm:prSet>
      <dgm:spPr/>
    </dgm:pt>
    <dgm:pt modelId="{AC1EF6BF-2E43-454B-A615-4F591E35E83C}" type="pres">
      <dgm:prSet presAssocID="{3B4DAB0F-3842-4550-B5F7-D0F92441F5DC}" presName="arrow" presStyleLbl="bgShp" presStyleIdx="0" presStyleCnt="1" custScaleX="117647" custLinFactNeighborX="650" custLinFactNeighborY="15112"/>
      <dgm:spPr>
        <a:blipFill rotWithShape="0">
          <a:blip xmlns:r="http://schemas.openxmlformats.org/officeDocument/2006/relationships" r:embed="rId1"/>
          <a:stretch>
            <a:fillRect/>
          </a:stretch>
        </a:blipFill>
      </dgm:spPr>
    </dgm:pt>
    <dgm:pt modelId="{C0E0A32C-1D30-4173-9767-16B291C07DAF}" type="pres">
      <dgm:prSet presAssocID="{3B4DAB0F-3842-4550-B5F7-D0F92441F5DC}" presName="linearProcess" presStyleCnt="0"/>
      <dgm:spPr/>
    </dgm:pt>
  </dgm:ptLst>
  <dgm:cxnLst>
    <dgm:cxn modelId="{CEE504FB-AC0A-4E72-9AEB-88D76DCE3D79}" type="presOf" srcId="{3B4DAB0F-3842-4550-B5F7-D0F92441F5DC}" destId="{C54C5581-1B40-42E2-B9CA-7FB99C2F11FC}" srcOrd="0" destOrd="0" presId="urn:microsoft.com/office/officeart/2005/8/layout/hProcess9"/>
    <dgm:cxn modelId="{8F2166B8-4EDA-4F8A-B322-3C2C5029F8DB}" type="presParOf" srcId="{C54C5581-1B40-42E2-B9CA-7FB99C2F11FC}" destId="{AC1EF6BF-2E43-454B-A615-4F591E35E83C}" srcOrd="0" destOrd="0" presId="urn:microsoft.com/office/officeart/2005/8/layout/hProcess9"/>
    <dgm:cxn modelId="{05A3F43F-58BB-4B81-A5A7-F4BECD3A1A4F}" type="presParOf" srcId="{C54C5581-1B40-42E2-B9CA-7FB99C2F11FC}" destId="{C0E0A32C-1D30-4173-9767-16B291C07DAF}" srcOrd="1"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B4DAB0F-3842-4550-B5F7-D0F92441F5DC}" type="doc">
      <dgm:prSet loTypeId="urn:microsoft.com/office/officeart/2005/8/layout/hProcess9" loCatId="process" qsTypeId="urn:microsoft.com/office/officeart/2005/8/quickstyle/simple1" qsCatId="simple" csTypeId="urn:microsoft.com/office/officeart/2005/8/colors/accent1_2" csCatId="accent1" phldr="1"/>
      <dgm:spPr/>
    </dgm:pt>
    <dgm:pt modelId="{C54C5581-1B40-42E2-B9CA-7FB99C2F11FC}" type="pres">
      <dgm:prSet presAssocID="{3B4DAB0F-3842-4550-B5F7-D0F92441F5DC}" presName="CompostProcess" presStyleCnt="0">
        <dgm:presLayoutVars>
          <dgm:dir/>
          <dgm:resizeHandles val="exact"/>
        </dgm:presLayoutVars>
      </dgm:prSet>
      <dgm:spPr/>
    </dgm:pt>
    <dgm:pt modelId="{AC1EF6BF-2E43-454B-A615-4F591E35E83C}" type="pres">
      <dgm:prSet presAssocID="{3B4DAB0F-3842-4550-B5F7-D0F92441F5DC}" presName="arrow" presStyleLbl="bgShp" presStyleIdx="0" presStyleCnt="1" custScaleX="117647" custLinFactNeighborX="0" custLinFactNeighborY="-7910"/>
      <dgm:spPr>
        <a:blipFill rotWithShape="0">
          <a:blip xmlns:r="http://schemas.openxmlformats.org/officeDocument/2006/relationships" r:embed="rId1"/>
          <a:stretch>
            <a:fillRect/>
          </a:stretch>
        </a:blipFill>
      </dgm:spPr>
    </dgm:pt>
    <dgm:pt modelId="{C0E0A32C-1D30-4173-9767-16B291C07DAF}" type="pres">
      <dgm:prSet presAssocID="{3B4DAB0F-3842-4550-B5F7-D0F92441F5DC}" presName="linearProcess" presStyleCnt="0"/>
      <dgm:spPr/>
    </dgm:pt>
  </dgm:ptLst>
  <dgm:cxnLst>
    <dgm:cxn modelId="{C4A7DABE-497C-418D-8372-2C5754E94CD2}" type="presOf" srcId="{3B4DAB0F-3842-4550-B5F7-D0F92441F5DC}" destId="{C54C5581-1B40-42E2-B9CA-7FB99C2F11FC}" srcOrd="0" destOrd="0" presId="urn:microsoft.com/office/officeart/2005/8/layout/hProcess9"/>
    <dgm:cxn modelId="{CE0F2F22-DC30-4FD0-A8FC-3C3ED87824DB}" type="presParOf" srcId="{C54C5581-1B40-42E2-B9CA-7FB99C2F11FC}" destId="{AC1EF6BF-2E43-454B-A615-4F591E35E83C}" srcOrd="0" destOrd="0" presId="urn:microsoft.com/office/officeart/2005/8/layout/hProcess9"/>
    <dgm:cxn modelId="{B6BDEAA9-1C94-4E56-8658-9D6ACEBA8FAA}" type="presParOf" srcId="{C54C5581-1B40-42E2-B9CA-7FB99C2F11FC}" destId="{C0E0A32C-1D30-4173-9767-16B291C07DAF}" srcOrd="1"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5D99E9-2FD3-49E7-B459-849BC8F0825D}">
      <dsp:nvSpPr>
        <dsp:cNvPr id="0" name=""/>
        <dsp:cNvSpPr/>
      </dsp:nvSpPr>
      <dsp:spPr>
        <a:xfrm>
          <a:off x="4451341" y="2300"/>
          <a:ext cx="2777256" cy="1805216"/>
        </a:xfrm>
        <a:prstGeom prst="roundRect">
          <a:avLst/>
        </a:prstGeom>
        <a:solidFill>
          <a:srgbClr val="0070C0"/>
        </a:solidFill>
        <a:ln w="25400" cap="flat" cmpd="sng" algn="ctr">
          <a:solidFill>
            <a:schemeClr val="lt1">
              <a:hueOff val="0"/>
              <a:satOff val="0"/>
              <a:lumOff val="0"/>
              <a:alphaOff val="0"/>
            </a:schemeClr>
          </a:solidFill>
          <a:prstDash val="solid"/>
        </a:ln>
        <a:effectLst>
          <a:glow rad="63500">
            <a:srgbClr val="0066CC">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914400" rtl="0" fontAlgn="base">
            <a:lnSpc>
              <a:spcPct val="90000"/>
            </a:lnSpc>
            <a:spcBef>
              <a:spcPct val="0"/>
            </a:spcBef>
            <a:spcAft>
              <a:spcPct val="0"/>
            </a:spcAft>
            <a:buNone/>
          </a:pPr>
          <a:r>
            <a:rPr lang="en-US" sz="2800" b="0" kern="1200" dirty="0">
              <a:solidFill>
                <a:schemeClr val="bg1"/>
              </a:solidFill>
              <a:latin typeface="+mn-lt"/>
              <a:ea typeface="ヒラギノ角ゴ ProN W3" charset="0"/>
              <a:cs typeface="ヒラギノ角ゴ ProN W3" charset="0"/>
              <a:sym typeface="Gill Sans" charset="0"/>
            </a:rPr>
            <a:t>Part 1</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Map Your Career Pattern</a:t>
          </a:r>
        </a:p>
      </dsp:txBody>
      <dsp:txXfrm>
        <a:off x="4539464" y="90423"/>
        <a:ext cx="2601010" cy="1628970"/>
      </dsp:txXfrm>
    </dsp:sp>
    <dsp:sp modelId="{657AE05B-1220-494B-8CB3-D26EC8BC182D}">
      <dsp:nvSpPr>
        <dsp:cNvPr id="0" name=""/>
        <dsp:cNvSpPr/>
      </dsp:nvSpPr>
      <dsp:spPr>
        <a:xfrm>
          <a:off x="2231109" y="904908"/>
          <a:ext cx="7217720" cy="7217720"/>
        </a:xfrm>
        <a:custGeom>
          <a:avLst/>
          <a:gdLst/>
          <a:ahLst/>
          <a:cxnLst/>
          <a:rect l="0" t="0" r="0" b="0"/>
          <a:pathLst>
            <a:path>
              <a:moveTo>
                <a:pt x="5370092" y="458950"/>
              </a:moveTo>
              <a:arcTo wR="3608860" hR="3608860" stAng="17952671" swAng="1212752"/>
            </a:path>
          </a:pathLst>
        </a:custGeom>
        <a:noFill/>
        <a:ln w="9525" cap="flat" cmpd="sng" algn="ctr">
          <a:solidFill>
            <a:scrgbClr r="0" g="0" b="0">
              <a:shade val="95000"/>
              <a:satMod val="105000"/>
            </a:scrgbClr>
          </a:solidFill>
          <a:prstDash val="solid"/>
          <a:tailEnd type="none"/>
        </a:ln>
        <a:effectLst/>
      </dsp:spPr>
      <dsp:style>
        <a:lnRef idx="1">
          <a:scrgbClr r="0" g="0" b="0"/>
        </a:lnRef>
        <a:fillRef idx="0">
          <a:scrgbClr r="0" g="0" b="0"/>
        </a:fillRef>
        <a:effectRef idx="0">
          <a:scrgbClr r="0" g="0" b="0"/>
        </a:effectRef>
        <a:fontRef idx="minor"/>
      </dsp:style>
    </dsp:sp>
    <dsp:sp modelId="{340B9E1A-4233-4FA1-A264-269CEAC68E27}">
      <dsp:nvSpPr>
        <dsp:cNvPr id="0" name=""/>
        <dsp:cNvSpPr/>
      </dsp:nvSpPr>
      <dsp:spPr>
        <a:xfrm>
          <a:off x="7883571" y="2495961"/>
          <a:ext cx="2777256" cy="1805216"/>
        </a:xfrm>
        <a:prstGeom prst="roundRect">
          <a:avLst/>
        </a:prstGeom>
        <a:solidFill>
          <a:srgbClr val="008080"/>
        </a:solidFill>
        <a:ln w="25400" cap="flat" cmpd="sng" algn="ctr">
          <a:solidFill>
            <a:schemeClr val="lt1">
              <a:hueOff val="0"/>
              <a:satOff val="0"/>
              <a:lumOff val="0"/>
              <a:alphaOff val="0"/>
            </a:schemeClr>
          </a:solidFill>
          <a:prstDash val="solid"/>
        </a:ln>
        <a:effectLst>
          <a:glow rad="63500">
            <a:srgbClr val="00808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914400" rtl="0" fontAlgn="base">
            <a:lnSpc>
              <a:spcPct val="90000"/>
            </a:lnSpc>
            <a:spcBef>
              <a:spcPct val="0"/>
            </a:spcBef>
            <a:spcAft>
              <a:spcPct val="0"/>
            </a:spcAft>
            <a:buNone/>
          </a:pPr>
          <a:r>
            <a:rPr lang="en-US" sz="2800" b="0" kern="1200" dirty="0">
              <a:solidFill>
                <a:schemeClr val="bg1"/>
              </a:solidFill>
              <a:latin typeface="+mn-lt"/>
              <a:ea typeface="ヒラギノ角ゴ ProN W3" charset="0"/>
              <a:cs typeface="ヒラギノ角ゴ ProN W3" charset="0"/>
              <a:sym typeface="Gill Sans" charset="0"/>
            </a:rPr>
            <a:t>Part 2 </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Employee Performance Continuum</a:t>
          </a:r>
        </a:p>
      </dsp:txBody>
      <dsp:txXfrm>
        <a:off x="7971694" y="2584084"/>
        <a:ext cx="2601010" cy="1628970"/>
      </dsp:txXfrm>
    </dsp:sp>
    <dsp:sp modelId="{5AB0F003-93FC-48F3-BE51-158512A6FF86}">
      <dsp:nvSpPr>
        <dsp:cNvPr id="0" name=""/>
        <dsp:cNvSpPr/>
      </dsp:nvSpPr>
      <dsp:spPr>
        <a:xfrm>
          <a:off x="2232297" y="924159"/>
          <a:ext cx="7217720" cy="7217720"/>
        </a:xfrm>
        <a:custGeom>
          <a:avLst/>
          <a:gdLst/>
          <a:ahLst/>
          <a:cxnLst/>
          <a:rect l="0" t="0" r="0" b="0"/>
          <a:pathLst>
            <a:path>
              <a:moveTo>
                <a:pt x="7212180" y="3808752"/>
              </a:moveTo>
              <a:arcTo wR="3608860" hR="3608860" stAng="21790512" swAng="1266557"/>
            </a:path>
          </a:pathLst>
        </a:custGeom>
        <a:noFill/>
        <a:ln w="9525" cap="flat" cmpd="sng" algn="ctr">
          <a:solidFill>
            <a:scrgbClr r="0" g="0" b="0">
              <a:shade val="95000"/>
              <a:satMod val="105000"/>
            </a:scrgbClr>
          </a:solidFill>
          <a:prstDash val="solid"/>
          <a:tailEnd type="none"/>
        </a:ln>
        <a:effectLst/>
      </dsp:spPr>
      <dsp:style>
        <a:lnRef idx="1">
          <a:scrgbClr r="0" g="0" b="0"/>
        </a:lnRef>
        <a:fillRef idx="0">
          <a:scrgbClr r="0" g="0" b="0"/>
        </a:fillRef>
        <a:effectRef idx="0">
          <a:scrgbClr r="0" g="0" b="0"/>
        </a:effectRef>
        <a:fontRef idx="minor"/>
      </dsp:style>
    </dsp:sp>
    <dsp:sp modelId="{C8412CBC-782D-47FD-AE74-864DB0D0E976}">
      <dsp:nvSpPr>
        <dsp:cNvPr id="0" name=""/>
        <dsp:cNvSpPr/>
      </dsp:nvSpPr>
      <dsp:spPr>
        <a:xfrm>
          <a:off x="6759794" y="6399436"/>
          <a:ext cx="2777256" cy="1805216"/>
        </a:xfrm>
        <a:prstGeom prst="roundRect">
          <a:avLst/>
        </a:prstGeom>
        <a:solidFill>
          <a:srgbClr val="92D050"/>
        </a:solidFill>
        <a:ln w="25400" cap="flat" cmpd="sng" algn="ctr">
          <a:solidFill>
            <a:schemeClr val="lt1">
              <a:hueOff val="0"/>
              <a:satOff val="0"/>
              <a:lumOff val="0"/>
              <a:alphaOff val="0"/>
            </a:schemeClr>
          </a:solidFill>
          <a:prstDash val="solid"/>
        </a:ln>
        <a:effectLst>
          <a:glow rad="63500">
            <a:srgbClr val="92D05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914400" rtl="0" fontAlgn="base">
            <a:lnSpc>
              <a:spcPct val="90000"/>
            </a:lnSpc>
            <a:spcBef>
              <a:spcPct val="0"/>
            </a:spcBef>
            <a:spcAft>
              <a:spcPct val="0"/>
            </a:spcAft>
            <a:buNone/>
          </a:pPr>
          <a:r>
            <a:rPr lang="en-US" sz="2800" b="0" kern="1200" dirty="0">
              <a:solidFill>
                <a:schemeClr val="bg1"/>
              </a:solidFill>
              <a:latin typeface="+mn-lt"/>
              <a:ea typeface="ヒラギノ角ゴ ProN W3" charset="0"/>
              <a:cs typeface="ヒラギノ角ゴ ProN W3" charset="0"/>
              <a:sym typeface="Gill Sans" charset="0"/>
            </a:rPr>
            <a:t>Part 3 </a:t>
          </a:r>
          <a:br>
            <a:rPr lang="en-US" sz="2800" b="1" kern="1200" dirty="0">
              <a:solidFill>
                <a:schemeClr val="bg1"/>
              </a:solidFill>
              <a:latin typeface="+mn-lt"/>
              <a:ea typeface="ヒラギノ角ゴ ProN W3" charset="0"/>
              <a:cs typeface="ヒラギノ角ゴ ProN W3" charset="0"/>
              <a:sym typeface="Gill Sans" charset="0"/>
            </a:rPr>
          </a:br>
          <a:r>
            <a:rPr lang="en-US" sz="2800" b="1" kern="1200" dirty="0">
              <a:solidFill>
                <a:schemeClr val="bg1"/>
              </a:solidFill>
              <a:latin typeface="+mn-lt"/>
              <a:ea typeface="ヒラギノ角ゴ ProN W3" charset="0"/>
              <a:cs typeface="ヒラギノ角ゴ ProN W3" charset="0"/>
              <a:sym typeface="Gill Sans" charset="0"/>
            </a:rPr>
            <a:t>Self-Driven Insight</a:t>
          </a:r>
        </a:p>
      </dsp:txBody>
      <dsp:txXfrm>
        <a:off x="6847917" y="6487559"/>
        <a:ext cx="2601010" cy="1628970"/>
      </dsp:txXfrm>
    </dsp:sp>
    <dsp:sp modelId="{4C676D33-2BDF-4179-B13C-AD425BF38774}">
      <dsp:nvSpPr>
        <dsp:cNvPr id="0" name=""/>
        <dsp:cNvSpPr/>
      </dsp:nvSpPr>
      <dsp:spPr>
        <a:xfrm>
          <a:off x="2255285" y="910007"/>
          <a:ext cx="7217720" cy="7217720"/>
        </a:xfrm>
        <a:custGeom>
          <a:avLst/>
          <a:gdLst/>
          <a:ahLst/>
          <a:cxnLst/>
          <a:rect l="0" t="0" r="0" b="0"/>
          <a:pathLst>
            <a:path>
              <a:moveTo>
                <a:pt x="4180992" y="7172080"/>
              </a:moveTo>
              <a:arcTo wR="3608860" hR="3608860" stAng="4852686" swAng="958727"/>
            </a:path>
          </a:pathLst>
        </a:custGeom>
        <a:noFill/>
        <a:ln w="9525" cap="flat" cmpd="sng" algn="ctr">
          <a:solidFill>
            <a:scrgbClr r="0" g="0" b="0">
              <a:shade val="95000"/>
              <a:satMod val="105000"/>
            </a:scrgbClr>
          </a:solidFill>
          <a:prstDash val="solid"/>
          <a:tailEnd type="none"/>
        </a:ln>
        <a:effectLst/>
      </dsp:spPr>
      <dsp:style>
        <a:lnRef idx="1">
          <a:scrgbClr r="0" g="0" b="0"/>
        </a:lnRef>
        <a:fillRef idx="0">
          <a:scrgbClr r="0" g="0" b="0"/>
        </a:fillRef>
        <a:effectRef idx="0">
          <a:scrgbClr r="0" g="0" b="0"/>
        </a:effectRef>
        <a:fontRef idx="minor"/>
      </dsp:style>
    </dsp:sp>
    <dsp:sp modelId="{6675A97E-367F-471C-AEC3-2990BBF7C1C9}">
      <dsp:nvSpPr>
        <dsp:cNvPr id="0" name=""/>
        <dsp:cNvSpPr/>
      </dsp:nvSpPr>
      <dsp:spPr>
        <a:xfrm>
          <a:off x="2330106" y="6530789"/>
          <a:ext cx="2777256" cy="1805216"/>
        </a:xfrm>
        <a:prstGeom prst="roundRect">
          <a:avLst/>
        </a:prstGeom>
        <a:solidFill>
          <a:srgbClr val="30C5C2"/>
        </a:solidFill>
        <a:ln w="25400" cap="flat" cmpd="sng" algn="ctr">
          <a:solidFill>
            <a:schemeClr val="lt1">
              <a:hueOff val="0"/>
              <a:satOff val="0"/>
              <a:lumOff val="0"/>
              <a:alphaOff val="0"/>
            </a:schemeClr>
          </a:solidFill>
          <a:prstDash val="solid"/>
        </a:ln>
        <a:effectLst>
          <a:glow rad="63500">
            <a:srgbClr val="30C5C2">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914400" rtl="0" fontAlgn="base">
            <a:lnSpc>
              <a:spcPct val="90000"/>
            </a:lnSpc>
            <a:spcBef>
              <a:spcPct val="0"/>
            </a:spcBef>
            <a:spcAft>
              <a:spcPct val="0"/>
            </a:spcAft>
            <a:buNone/>
          </a:pPr>
          <a:r>
            <a:rPr lang="en-US" sz="2800" b="0" kern="1200" dirty="0">
              <a:solidFill>
                <a:schemeClr val="bg1"/>
              </a:solidFill>
              <a:latin typeface="+mn-lt"/>
              <a:ea typeface="ヒラギノ角ゴ ProN W3" charset="0"/>
              <a:cs typeface="ヒラギノ角ゴ ProN W3" charset="0"/>
              <a:sym typeface="Gill Sans" charset="0"/>
            </a:rPr>
            <a:t>Part 4</a:t>
          </a:r>
        </a:p>
        <a:p>
          <a:pPr marL="0" lvl="0" indent="0" algn="ctr" defTabSz="914400" rtl="0" fontAlgn="base">
            <a:lnSpc>
              <a:spcPct val="90000"/>
            </a:lnSpc>
            <a:spcBef>
              <a:spcPct val="0"/>
            </a:spcBef>
            <a:spcAft>
              <a:spcPct val="0"/>
            </a:spcAft>
            <a:buNone/>
          </a:pPr>
          <a:r>
            <a:rPr lang="en-US" sz="2800" b="1" kern="1200" dirty="0">
              <a:solidFill>
                <a:schemeClr val="bg1"/>
              </a:solidFill>
              <a:latin typeface="+mn-lt"/>
              <a:ea typeface="ヒラギノ角ゴ ProN W3" charset="0"/>
              <a:cs typeface="ヒラギノ角ゴ ProN W3" charset="0"/>
              <a:sym typeface="Gill Sans" charset="0"/>
            </a:rPr>
            <a:t>Giving Positive Feedback</a:t>
          </a:r>
        </a:p>
      </dsp:txBody>
      <dsp:txXfrm>
        <a:off x="2418229" y="6618912"/>
        <a:ext cx="2601010" cy="1628970"/>
      </dsp:txXfrm>
    </dsp:sp>
    <dsp:sp modelId="{C3D54DDE-BD39-41E5-8621-5938448140C6}">
      <dsp:nvSpPr>
        <dsp:cNvPr id="0" name=""/>
        <dsp:cNvSpPr/>
      </dsp:nvSpPr>
      <dsp:spPr>
        <a:xfrm>
          <a:off x="2242191" y="921449"/>
          <a:ext cx="7217720" cy="7217720"/>
        </a:xfrm>
        <a:custGeom>
          <a:avLst/>
          <a:gdLst/>
          <a:ahLst/>
          <a:cxnLst/>
          <a:rect l="0" t="0" r="0" b="0"/>
          <a:pathLst>
            <a:path>
              <a:moveTo>
                <a:pt x="388687" y="5238081"/>
              </a:moveTo>
              <a:arcTo wR="3608860" hR="3608860" stAng="9189793" swAng="1260512"/>
            </a:path>
          </a:pathLst>
        </a:custGeom>
        <a:noFill/>
        <a:ln w="9525" cap="flat" cmpd="sng" algn="ctr">
          <a:solidFill>
            <a:scrgbClr r="0" g="0" b="0">
              <a:shade val="95000"/>
              <a:satMod val="105000"/>
            </a:scrgbClr>
          </a:solidFill>
          <a:prstDash val="solid"/>
          <a:tailEnd type="none"/>
        </a:ln>
        <a:effectLst/>
      </dsp:spPr>
      <dsp:style>
        <a:lnRef idx="1">
          <a:scrgbClr r="0" g="0" b="0"/>
        </a:lnRef>
        <a:fillRef idx="0">
          <a:scrgbClr r="0" g="0" b="0"/>
        </a:fillRef>
        <a:effectRef idx="0">
          <a:scrgbClr r="0" g="0" b="0"/>
        </a:effectRef>
        <a:fontRef idx="minor"/>
      </dsp:style>
    </dsp:sp>
    <dsp:sp modelId="{95B45E8F-FAA7-49C2-BB6A-760149C665D6}">
      <dsp:nvSpPr>
        <dsp:cNvPr id="0" name=""/>
        <dsp:cNvSpPr/>
      </dsp:nvSpPr>
      <dsp:spPr>
        <a:xfrm>
          <a:off x="909099" y="2662160"/>
          <a:ext cx="2921535" cy="1805216"/>
        </a:xfrm>
        <a:prstGeom prst="roundRect">
          <a:avLst/>
        </a:prstGeom>
        <a:solidFill>
          <a:schemeClr val="accent2"/>
        </a:solidFill>
        <a:ln w="25400" cap="flat" cmpd="sng" algn="ctr">
          <a:solidFill>
            <a:schemeClr val="lt1">
              <a:hueOff val="0"/>
              <a:satOff val="0"/>
              <a:lumOff val="0"/>
              <a:alphaOff val="0"/>
            </a:schemeClr>
          </a:solidFill>
          <a:prstDash val="solid"/>
        </a:ln>
        <a:effectLst>
          <a:glow rad="63500">
            <a:srgbClr val="FFC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914400" rtl="0" fontAlgn="base">
            <a:lnSpc>
              <a:spcPct val="90000"/>
            </a:lnSpc>
            <a:spcBef>
              <a:spcPct val="0"/>
            </a:spcBef>
            <a:spcAft>
              <a:spcPct val="0"/>
            </a:spcAft>
            <a:buNone/>
          </a:pPr>
          <a:r>
            <a:rPr lang="en-US" sz="2800" b="0" kern="1200" dirty="0">
              <a:solidFill>
                <a:schemeClr val="bg1"/>
              </a:solidFill>
              <a:latin typeface="+mn-lt"/>
              <a:ea typeface="ヒラギノ角ゴ ProN W3" charset="0"/>
              <a:cs typeface="ヒラギノ角ゴ ProN W3" charset="0"/>
              <a:sym typeface="Gill Sans" charset="0"/>
            </a:rPr>
            <a:t>Part 5</a:t>
          </a:r>
        </a:p>
        <a:p>
          <a:pPr marL="0" lvl="0" indent="0" algn="ctr" defTabSz="914400" rtl="0" fontAlgn="base">
            <a:lnSpc>
              <a:spcPct val="90000"/>
            </a:lnSpc>
            <a:spcBef>
              <a:spcPct val="0"/>
            </a:spcBef>
            <a:spcAft>
              <a:spcPct val="0"/>
            </a:spcAft>
            <a:buNone/>
          </a:pPr>
          <a:r>
            <a:rPr lang="en-US" sz="2800" b="1" kern="1200" dirty="0">
              <a:solidFill>
                <a:schemeClr val="bg1"/>
              </a:solidFill>
              <a:latin typeface="+mn-lt"/>
              <a:ea typeface="ヒラギノ角ゴ ProN W3" charset="0"/>
              <a:cs typeface="ヒラギノ角ゴ ProN W3" charset="0"/>
              <a:sym typeface="Gill Sans" charset="0"/>
            </a:rPr>
            <a:t>5 and 10-Minute Question Conversations</a:t>
          </a:r>
        </a:p>
      </dsp:txBody>
      <dsp:txXfrm>
        <a:off x="997222" y="2750283"/>
        <a:ext cx="2745289" cy="1628970"/>
      </dsp:txXfrm>
    </dsp:sp>
    <dsp:sp modelId="{BB0029C9-102A-45A9-B99C-750CA8ED6E59}">
      <dsp:nvSpPr>
        <dsp:cNvPr id="0" name=""/>
        <dsp:cNvSpPr/>
      </dsp:nvSpPr>
      <dsp:spPr>
        <a:xfrm>
          <a:off x="2248730" y="897507"/>
          <a:ext cx="7217720" cy="7217720"/>
        </a:xfrm>
        <a:custGeom>
          <a:avLst/>
          <a:gdLst/>
          <a:ahLst/>
          <a:cxnLst/>
          <a:rect l="0" t="0" r="0" b="0"/>
          <a:pathLst>
            <a:path>
              <a:moveTo>
                <a:pt x="760301" y="1393101"/>
              </a:moveTo>
              <a:arcTo wR="3608860" hR="3608860" stAng="13072660" swAng="1322575"/>
            </a:path>
          </a:pathLst>
        </a:custGeom>
        <a:noFill/>
        <a:ln w="9525" cap="flat" cmpd="sng" algn="ctr">
          <a:solidFill>
            <a:scrgbClr r="0" g="0" b="0">
              <a:shade val="95000"/>
              <a:satMod val="105000"/>
            </a:scrgbClr>
          </a:solidFill>
          <a:prstDash val="solid"/>
          <a:tailEnd type="none"/>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EF6BF-2E43-454B-A615-4F591E35E83C}">
      <dsp:nvSpPr>
        <dsp:cNvPr id="0" name=""/>
        <dsp:cNvSpPr/>
      </dsp:nvSpPr>
      <dsp:spPr>
        <a:xfrm>
          <a:off x="6" y="0"/>
          <a:ext cx="12572992" cy="4191001"/>
        </a:xfrm>
        <a:prstGeom prst="rightArrow">
          <a:avLst/>
        </a:prstGeom>
        <a:blipFill rotWithShape="0">
          <a:blip xmlns:r="http://schemas.openxmlformats.org/officeDocument/2006/relationships" r:embed="rId1">
            <a:lum bright="-21000" contrast="36000"/>
          </a:blip>
          <a:stretch>
            <a:fillRect/>
          </a:stretch>
        </a:blip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0BD274-1C43-46F8-AC13-D94864C77D68}">
      <dsp:nvSpPr>
        <dsp:cNvPr id="0" name=""/>
        <dsp:cNvSpPr/>
      </dsp:nvSpPr>
      <dsp:spPr>
        <a:xfrm>
          <a:off x="4163658" y="3995"/>
          <a:ext cx="7132320" cy="2237935"/>
        </a:xfrm>
        <a:prstGeom prst="rightArrow">
          <a:avLst>
            <a:gd name="adj1" fmla="val 75000"/>
            <a:gd name="adj2" fmla="val 50000"/>
          </a:avLst>
        </a:prstGeom>
        <a:solidFill>
          <a:schemeClr val="bg1">
            <a:lumMod val="50000"/>
            <a:alpha val="2200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t" anchorCtr="0">
          <a:noAutofit/>
        </a:bodyPr>
        <a:lstStyle/>
        <a:p>
          <a:pPr marL="285750" lvl="1" indent="-285750" algn="l" defTabSz="1422400">
            <a:lnSpc>
              <a:spcPct val="90000"/>
            </a:lnSpc>
            <a:spcBef>
              <a:spcPct val="0"/>
            </a:spcBef>
            <a:spcAft>
              <a:spcPct val="15000"/>
            </a:spcAft>
            <a:buChar char="•"/>
          </a:pPr>
          <a:endParaRPr lang="en-US" sz="3200" b="1" kern="1200" dirty="0"/>
        </a:p>
        <a:p>
          <a:pPr marL="285750" lvl="1" indent="-285750" algn="l" defTabSz="1422400">
            <a:lnSpc>
              <a:spcPct val="90000"/>
            </a:lnSpc>
            <a:spcBef>
              <a:spcPct val="0"/>
            </a:spcBef>
            <a:spcAft>
              <a:spcPct val="15000"/>
            </a:spcAft>
            <a:buChar char="•"/>
          </a:pPr>
          <a:r>
            <a:rPr kumimoji="0" lang="en-US" sz="3200" b="1" i="0" u="none" strike="noStrike" kern="1200" cap="none" normalizeH="0" baseline="0" dirty="0">
              <a:ln/>
              <a:solidFill>
                <a:schemeClr val="tx1">
                  <a:lumMod val="75000"/>
                  <a:lumOff val="25000"/>
                </a:schemeClr>
              </a:solidFill>
              <a:effectLst/>
              <a:latin typeface="+mn-lt"/>
              <a:cs typeface="Arial" pitchFamily="34" charset="0"/>
            </a:rPr>
            <a:t>Where on the Continuum did you see yourself?</a:t>
          </a:r>
          <a:endParaRPr lang="en-US" sz="3200" b="1" kern="1200" dirty="0">
            <a:solidFill>
              <a:schemeClr val="tx1">
                <a:lumMod val="75000"/>
                <a:lumOff val="25000"/>
              </a:schemeClr>
            </a:solidFill>
          </a:endParaRPr>
        </a:p>
      </dsp:txBody>
      <dsp:txXfrm>
        <a:off x="4163658" y="283737"/>
        <a:ext cx="6293094" cy="1678451"/>
      </dsp:txXfrm>
    </dsp:sp>
    <dsp:sp modelId="{39FD2768-1CB6-4F45-8C93-F5E6A7974B54}">
      <dsp:nvSpPr>
        <dsp:cNvPr id="0" name=""/>
        <dsp:cNvSpPr/>
      </dsp:nvSpPr>
      <dsp:spPr>
        <a:xfrm>
          <a:off x="609623" y="4957"/>
          <a:ext cx="3572436" cy="2237935"/>
        </a:xfrm>
        <a:prstGeom prst="roundRect">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l" defTabSz="977900">
            <a:lnSpc>
              <a:spcPct val="90000"/>
            </a:lnSpc>
            <a:spcBef>
              <a:spcPct val="0"/>
            </a:spcBef>
            <a:spcAft>
              <a:spcPct val="35000"/>
            </a:spcAft>
            <a:buNone/>
          </a:pPr>
          <a:r>
            <a:rPr kumimoji="0" lang="en-US" sz="2200" b="0" i="0" u="none" strike="noStrike" kern="1200" cap="none" normalizeH="0" baseline="0" dirty="0">
              <a:ln/>
              <a:effectLst/>
              <a:latin typeface="Calibri" pitchFamily="34" charset="0"/>
              <a:cs typeface="Arial" pitchFamily="34" charset="0"/>
            </a:rPr>
            <a:t> </a:t>
          </a:r>
          <a:r>
            <a:rPr kumimoji="0" lang="en-US" sz="3600" b="1" i="0" u="none" strike="noStrike" kern="1200" cap="none" normalizeH="0" baseline="0" dirty="0">
              <a:ln/>
              <a:solidFill>
                <a:schemeClr val="bg1"/>
              </a:solidFill>
              <a:effectLst/>
              <a:latin typeface="+mn-lt"/>
              <a:cs typeface="Arial" pitchFamily="34" charset="0"/>
            </a:rPr>
            <a:t>THE PAST:  </a:t>
          </a:r>
          <a:br>
            <a:rPr kumimoji="0" lang="en-US" sz="2800" b="1" i="0" u="none" strike="noStrike" kern="1200" cap="none" normalizeH="0" baseline="0" dirty="0">
              <a:ln/>
              <a:effectLst/>
              <a:latin typeface="+mn-lt"/>
              <a:cs typeface="Arial" pitchFamily="34" charset="0"/>
            </a:rPr>
          </a:br>
          <a:r>
            <a:rPr kumimoji="0" lang="en-US" sz="2800" b="0" i="0" u="none" strike="noStrike" kern="1200" cap="none" normalizeH="0" baseline="0" dirty="0">
              <a:ln/>
              <a:effectLst/>
              <a:latin typeface="+mn-lt"/>
              <a:cs typeface="Arial" pitchFamily="34" charset="0"/>
            </a:rPr>
            <a:t>Reflect back to when you first started in your current role   </a:t>
          </a:r>
          <a:endParaRPr lang="en-US" sz="2200" b="0" kern="1200" dirty="0"/>
        </a:p>
      </dsp:txBody>
      <dsp:txXfrm>
        <a:off x="718870" y="114204"/>
        <a:ext cx="3353942" cy="2019441"/>
      </dsp:txXfrm>
    </dsp:sp>
    <dsp:sp modelId="{672AB031-25D2-4DE0-9B0F-E3302FD26A0D}">
      <dsp:nvSpPr>
        <dsp:cNvPr id="0" name=""/>
        <dsp:cNvSpPr/>
      </dsp:nvSpPr>
      <dsp:spPr>
        <a:xfrm>
          <a:off x="4165396" y="2465723"/>
          <a:ext cx="7125354" cy="2619279"/>
        </a:xfrm>
        <a:prstGeom prst="rightArrow">
          <a:avLst>
            <a:gd name="adj1" fmla="val 75000"/>
            <a:gd name="adj2" fmla="val 50000"/>
          </a:avLst>
        </a:prstGeom>
        <a:solidFill>
          <a:srgbClr val="92D050">
            <a:alpha val="33000"/>
          </a:srgbClr>
        </a:solidFill>
        <a:ln w="25400" cap="flat" cmpd="sng" algn="ctr">
          <a:solidFill>
            <a:schemeClr val="accent2">
              <a:tint val="40000"/>
              <a:alpha val="90000"/>
              <a:hueOff val="5708453"/>
              <a:satOff val="-29851"/>
              <a:lumOff val="-179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t" anchorCtr="0">
          <a:noAutofit/>
        </a:bodyPr>
        <a:lstStyle/>
        <a:p>
          <a:pPr marL="285750" lvl="1" indent="-285750" algn="l" defTabSz="1422400">
            <a:lnSpc>
              <a:spcPct val="90000"/>
            </a:lnSpc>
            <a:spcBef>
              <a:spcPct val="0"/>
            </a:spcBef>
            <a:spcAft>
              <a:spcPct val="15000"/>
            </a:spcAft>
            <a:buChar char="•"/>
          </a:pPr>
          <a:r>
            <a:rPr kumimoji="0" lang="en-US" sz="3200" b="1" i="0" u="none" strike="noStrike" kern="1200" cap="none" normalizeH="0" baseline="0" dirty="0">
              <a:ln/>
              <a:solidFill>
                <a:schemeClr val="tx1">
                  <a:lumMod val="75000"/>
                  <a:lumOff val="25000"/>
                </a:schemeClr>
              </a:solidFill>
              <a:effectLst/>
              <a:latin typeface="+mn-lt"/>
              <a:cs typeface="Arial" pitchFamily="34" charset="0"/>
            </a:rPr>
            <a:t>Where do you see yourself now?  </a:t>
          </a:r>
          <a:endParaRPr lang="en-US" sz="3200" b="1" kern="1200" dirty="0">
            <a:solidFill>
              <a:schemeClr val="tx1">
                <a:lumMod val="75000"/>
                <a:lumOff val="25000"/>
              </a:schemeClr>
            </a:solidFill>
          </a:endParaRPr>
        </a:p>
        <a:p>
          <a:pPr marL="285750" lvl="1" indent="-285750" algn="l" defTabSz="1422400">
            <a:lnSpc>
              <a:spcPct val="90000"/>
            </a:lnSpc>
            <a:spcBef>
              <a:spcPct val="0"/>
            </a:spcBef>
            <a:spcAft>
              <a:spcPct val="15000"/>
            </a:spcAft>
            <a:buChar char="•"/>
          </a:pPr>
          <a:r>
            <a:rPr kumimoji="0" lang="en-US" sz="3200" b="1" i="0" u="none" strike="noStrike" kern="1200" cap="none" normalizeH="0" baseline="0" dirty="0">
              <a:ln/>
              <a:solidFill>
                <a:schemeClr val="tx1">
                  <a:lumMod val="75000"/>
                  <a:lumOff val="25000"/>
                </a:schemeClr>
              </a:solidFill>
              <a:effectLst/>
              <a:latin typeface="+mn-lt"/>
              <a:cs typeface="Arial" pitchFamily="34" charset="0"/>
            </a:rPr>
            <a:t>Would you put yourself in different places depending upon the various aspects of your job?     </a:t>
          </a:r>
          <a:endParaRPr lang="en-US" sz="3200" b="1" kern="1200" dirty="0">
            <a:solidFill>
              <a:schemeClr val="tx1">
                <a:lumMod val="75000"/>
                <a:lumOff val="25000"/>
              </a:schemeClr>
            </a:solidFill>
          </a:endParaRPr>
        </a:p>
      </dsp:txBody>
      <dsp:txXfrm>
        <a:off x="4165396" y="2793133"/>
        <a:ext cx="6143124" cy="1964459"/>
      </dsp:txXfrm>
    </dsp:sp>
    <dsp:sp modelId="{F2E60C00-5EC9-4CC2-9BB3-2B0ECF98205B}">
      <dsp:nvSpPr>
        <dsp:cNvPr id="0" name=""/>
        <dsp:cNvSpPr/>
      </dsp:nvSpPr>
      <dsp:spPr>
        <a:xfrm>
          <a:off x="596448" y="2656395"/>
          <a:ext cx="3568947" cy="2237935"/>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l" defTabSz="1600200">
            <a:lnSpc>
              <a:spcPct val="90000"/>
            </a:lnSpc>
            <a:spcBef>
              <a:spcPct val="0"/>
            </a:spcBef>
            <a:spcAft>
              <a:spcPct val="35000"/>
            </a:spcAft>
            <a:buNone/>
          </a:pPr>
          <a:r>
            <a:rPr kumimoji="0" lang="en-US" sz="3600" b="1" i="0" u="none" strike="noStrike" kern="1200" cap="none" normalizeH="0" baseline="0" dirty="0">
              <a:ln/>
              <a:solidFill>
                <a:schemeClr val="bg1"/>
              </a:solidFill>
              <a:effectLst/>
              <a:latin typeface="+mn-lt"/>
              <a:cs typeface="Arial" pitchFamily="34" charset="0"/>
            </a:rPr>
            <a:t>THE PRESENT:  </a:t>
          </a:r>
          <a:br>
            <a:rPr kumimoji="0" lang="en-US" sz="3600" b="1" i="0" u="none" strike="noStrike" kern="1200" cap="none" normalizeH="0" baseline="0" dirty="0">
              <a:ln/>
              <a:solidFill>
                <a:schemeClr val="bg1"/>
              </a:solidFill>
              <a:effectLst/>
              <a:latin typeface="+mn-lt"/>
              <a:cs typeface="Arial" pitchFamily="34" charset="0"/>
            </a:rPr>
          </a:br>
          <a:r>
            <a:rPr kumimoji="0" lang="en-US" sz="2800" b="0" i="0" u="none" strike="noStrike" kern="1200" cap="none" normalizeH="0" baseline="0" dirty="0">
              <a:ln/>
              <a:effectLst/>
              <a:latin typeface="+mn-lt"/>
              <a:cs typeface="Arial" pitchFamily="34" charset="0"/>
            </a:rPr>
            <a:t>Reflect on your current role  </a:t>
          </a:r>
          <a:endParaRPr lang="en-US" sz="2800" b="0" kern="1200" dirty="0"/>
        </a:p>
      </dsp:txBody>
      <dsp:txXfrm>
        <a:off x="705695" y="2765642"/>
        <a:ext cx="3350453" cy="2019441"/>
      </dsp:txXfrm>
    </dsp:sp>
    <dsp:sp modelId="{B328ED32-A58C-4490-AEDF-65386DCB1412}">
      <dsp:nvSpPr>
        <dsp:cNvPr id="0" name=""/>
        <dsp:cNvSpPr/>
      </dsp:nvSpPr>
      <dsp:spPr>
        <a:xfrm>
          <a:off x="4342275" y="5308796"/>
          <a:ext cx="7132320" cy="2237935"/>
        </a:xfrm>
        <a:prstGeom prst="rightArrow">
          <a:avLst>
            <a:gd name="adj1" fmla="val 75000"/>
            <a:gd name="adj2" fmla="val 50000"/>
          </a:avLst>
        </a:prstGeom>
        <a:solidFill>
          <a:srgbClr val="00B0F0">
            <a:alpha val="33000"/>
          </a:srgbClr>
        </a:solidFill>
        <a:ln w="25400" cap="flat" cmpd="sng" algn="ctr">
          <a:solidFill>
            <a:schemeClr val="accent2">
              <a:tint val="40000"/>
              <a:alpha val="90000"/>
              <a:hueOff val="11416906"/>
              <a:satOff val="-59703"/>
              <a:lumOff val="-359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285750" lvl="1" indent="-285750" algn="l" defTabSz="1422400">
            <a:lnSpc>
              <a:spcPct val="90000"/>
            </a:lnSpc>
            <a:spcBef>
              <a:spcPct val="0"/>
            </a:spcBef>
            <a:spcAft>
              <a:spcPct val="15000"/>
            </a:spcAft>
            <a:buChar char="•"/>
          </a:pPr>
          <a:r>
            <a:rPr kumimoji="0" lang="en-US" sz="3200" b="1" i="0" u="none" strike="noStrike" kern="1200" cap="none" normalizeH="0" baseline="0" dirty="0">
              <a:ln/>
              <a:solidFill>
                <a:schemeClr val="tx1">
                  <a:lumMod val="75000"/>
                  <a:lumOff val="25000"/>
                </a:schemeClr>
              </a:solidFill>
              <a:effectLst/>
              <a:latin typeface="+mn-lt"/>
              <a:cs typeface="Arial" pitchFamily="34" charset="0"/>
            </a:rPr>
            <a:t>What is one thing you can do to move ahead?</a:t>
          </a:r>
          <a:endParaRPr lang="en-US" sz="3200" b="1" kern="1200" dirty="0">
            <a:solidFill>
              <a:schemeClr val="tx1">
                <a:lumMod val="75000"/>
                <a:lumOff val="25000"/>
              </a:schemeClr>
            </a:solidFill>
          </a:endParaRPr>
        </a:p>
      </dsp:txBody>
      <dsp:txXfrm>
        <a:off x="4342275" y="5588538"/>
        <a:ext cx="6293094" cy="1678451"/>
      </dsp:txXfrm>
    </dsp:sp>
    <dsp:sp modelId="{44A8560F-E114-487E-B2C7-B07B1F5DFEF1}">
      <dsp:nvSpPr>
        <dsp:cNvPr id="0" name=""/>
        <dsp:cNvSpPr/>
      </dsp:nvSpPr>
      <dsp:spPr>
        <a:xfrm>
          <a:off x="412604" y="5308796"/>
          <a:ext cx="3929670" cy="2237935"/>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l" defTabSz="1422400">
            <a:lnSpc>
              <a:spcPct val="90000"/>
            </a:lnSpc>
            <a:spcBef>
              <a:spcPct val="0"/>
            </a:spcBef>
            <a:spcAft>
              <a:spcPct val="35000"/>
            </a:spcAft>
            <a:buNone/>
          </a:pPr>
          <a:endParaRPr kumimoji="0" lang="en-US" sz="3200" b="1" i="0" u="none" strike="noStrike" kern="1200" cap="none" normalizeH="0" baseline="0" dirty="0">
            <a:ln/>
            <a:effectLst/>
            <a:latin typeface="+mn-lt"/>
            <a:cs typeface="Arial" pitchFamily="34" charset="0"/>
          </a:endParaRPr>
        </a:p>
        <a:p>
          <a:pPr marL="0" lvl="0" indent="0" algn="l" defTabSz="1422400">
            <a:lnSpc>
              <a:spcPct val="90000"/>
            </a:lnSpc>
            <a:spcBef>
              <a:spcPct val="0"/>
            </a:spcBef>
            <a:spcAft>
              <a:spcPct val="35000"/>
            </a:spcAft>
            <a:buNone/>
          </a:pPr>
          <a:endParaRPr kumimoji="0" lang="en-US" sz="3200" b="1" i="0" u="none" strike="noStrike" kern="1200" cap="none" normalizeH="0" baseline="0" dirty="0">
            <a:ln/>
            <a:effectLst/>
            <a:latin typeface="+mn-lt"/>
            <a:cs typeface="Arial" pitchFamily="34" charset="0"/>
          </a:endParaRPr>
        </a:p>
        <a:p>
          <a:pPr marL="0" lvl="0" indent="0" algn="l" defTabSz="1422400">
            <a:lnSpc>
              <a:spcPct val="90000"/>
            </a:lnSpc>
            <a:spcBef>
              <a:spcPct val="0"/>
            </a:spcBef>
            <a:spcAft>
              <a:spcPct val="35000"/>
            </a:spcAft>
            <a:buNone/>
          </a:pPr>
          <a:r>
            <a:rPr kumimoji="0" lang="en-US" sz="3600" b="1" i="0" u="none" strike="noStrike" kern="1200" cap="none" normalizeH="0" baseline="0" dirty="0">
              <a:ln/>
              <a:solidFill>
                <a:schemeClr val="bg1"/>
              </a:solidFill>
              <a:effectLst/>
              <a:latin typeface="+mn-lt"/>
              <a:cs typeface="Arial" pitchFamily="34" charset="0"/>
            </a:rPr>
            <a:t>THE FUTURE:  </a:t>
          </a:r>
          <a:br>
            <a:rPr kumimoji="0" lang="en-US" sz="2800" b="1" i="0" u="none" strike="noStrike" kern="1200" cap="none" normalizeH="0" baseline="0" dirty="0">
              <a:ln/>
              <a:effectLst/>
              <a:latin typeface="+mn-lt"/>
              <a:cs typeface="Arial" pitchFamily="34" charset="0"/>
            </a:rPr>
          </a:br>
          <a:r>
            <a:rPr kumimoji="0" lang="en-US" sz="2800" b="0" i="0" u="none" strike="noStrike" kern="1200" cap="none" normalizeH="0" baseline="0" dirty="0">
              <a:ln/>
              <a:effectLst/>
              <a:latin typeface="+mn-lt"/>
              <a:cs typeface="Arial" pitchFamily="34" charset="0"/>
            </a:rPr>
            <a:t>Thinking ahead, where do you have the potential and desire to move?  </a:t>
          </a:r>
        </a:p>
        <a:p>
          <a:pPr marL="0" lvl="0" indent="0" algn="l" defTabSz="1422400">
            <a:lnSpc>
              <a:spcPct val="90000"/>
            </a:lnSpc>
            <a:spcBef>
              <a:spcPct val="0"/>
            </a:spcBef>
            <a:spcAft>
              <a:spcPct val="35000"/>
            </a:spcAft>
            <a:buNone/>
          </a:pPr>
          <a:endParaRPr kumimoji="0" lang="en-US" sz="3200" b="1" i="0" u="none" strike="noStrike" kern="1200" cap="none" normalizeH="0" baseline="0" dirty="0">
            <a:ln/>
            <a:effectLst/>
            <a:latin typeface="+mn-lt"/>
            <a:cs typeface="Arial" pitchFamily="34" charset="0"/>
          </a:endParaRPr>
        </a:p>
        <a:p>
          <a:pPr marL="0" lvl="0" indent="0" algn="l" defTabSz="1422400">
            <a:lnSpc>
              <a:spcPct val="90000"/>
            </a:lnSpc>
            <a:spcBef>
              <a:spcPct val="0"/>
            </a:spcBef>
            <a:spcAft>
              <a:spcPct val="35000"/>
            </a:spcAft>
            <a:buNone/>
          </a:pPr>
          <a:endParaRPr lang="en-US" sz="3200" kern="1200" dirty="0"/>
        </a:p>
      </dsp:txBody>
      <dsp:txXfrm>
        <a:off x="521851" y="5418043"/>
        <a:ext cx="3711176" cy="20194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233D1F-A65A-4786-B45D-09F14ABA5279}">
      <dsp:nvSpPr>
        <dsp:cNvPr id="0" name=""/>
        <dsp:cNvSpPr/>
      </dsp:nvSpPr>
      <dsp:spPr>
        <a:xfrm>
          <a:off x="0" y="2590802"/>
          <a:ext cx="10668000" cy="2607494"/>
        </a:xfrm>
        <a:prstGeom prst="roundRect">
          <a:avLst>
            <a:gd name="adj" fmla="val 10000"/>
          </a:avLst>
        </a:prstGeom>
        <a:solidFill>
          <a:srgbClr val="92D050"/>
        </a:solidFill>
        <a:ln>
          <a:solidFill>
            <a:schemeClr val="bg1"/>
          </a:solidFill>
        </a:ln>
        <a:effectLst>
          <a:outerShdw blurRad="76200" dir="13500000" sy="23000" kx="1200000" algn="br" rotWithShape="0">
            <a:prstClr val="black">
              <a:alpha val="20000"/>
            </a:prstClr>
          </a:outerShdw>
        </a:effectLst>
      </dsp:spPr>
      <dsp:style>
        <a:lnRef idx="0">
          <a:scrgbClr r="0" g="0" b="0"/>
        </a:lnRef>
        <a:fillRef idx="1">
          <a:scrgbClr r="0" g="0" b="0"/>
        </a:fillRef>
        <a:effectRef idx="0">
          <a:scrgbClr r="0" g="0" b="0"/>
        </a:effectRef>
        <a:fontRef idx="minor"/>
      </dsp:style>
      <dsp:txBody>
        <a:bodyPr spcFirstLastPara="0" vert="horz" wrap="square" lIns="448056" tIns="448056" rIns="448056" bIns="448056" numCol="1" spcCol="1270" anchor="ctr" anchorCtr="0">
          <a:noAutofit/>
        </a:bodyPr>
        <a:lstStyle/>
        <a:p>
          <a:pPr marL="0" lvl="0" indent="0" algn="ctr" defTabSz="2800350">
            <a:lnSpc>
              <a:spcPct val="90000"/>
            </a:lnSpc>
            <a:spcBef>
              <a:spcPct val="0"/>
            </a:spcBef>
            <a:spcAft>
              <a:spcPct val="35000"/>
            </a:spcAft>
            <a:buNone/>
          </a:pPr>
          <a:r>
            <a:rPr lang="en-US" sz="6300" b="1" kern="1200" dirty="0">
              <a:solidFill>
                <a:schemeClr val="bg1"/>
              </a:solidFill>
            </a:rPr>
            <a:t>Others</a:t>
          </a:r>
        </a:p>
      </dsp:txBody>
      <dsp:txXfrm>
        <a:off x="0" y="2590802"/>
        <a:ext cx="3200400" cy="2607494"/>
      </dsp:txXfrm>
    </dsp:sp>
    <dsp:sp modelId="{789920EF-67C2-44D1-9100-51B6F3F7EB7C}">
      <dsp:nvSpPr>
        <dsp:cNvPr id="0" name=""/>
        <dsp:cNvSpPr/>
      </dsp:nvSpPr>
      <dsp:spPr>
        <a:xfrm>
          <a:off x="0" y="1816614"/>
          <a:ext cx="10668000" cy="659457"/>
        </a:xfrm>
        <a:prstGeom prst="roundRect">
          <a:avLst>
            <a:gd name="adj" fmla="val 10000"/>
          </a:avLst>
        </a:prstGeom>
        <a:solidFill>
          <a:srgbClr val="33CCCC"/>
        </a:solidFill>
        <a:ln>
          <a:noFill/>
        </a:ln>
        <a:effectLst>
          <a:outerShdw blurRad="76200" dir="13500000" sy="23000" kx="1200000" algn="br" rotWithShape="0">
            <a:prstClr val="black">
              <a:alpha val="20000"/>
            </a:prstClr>
          </a:outerShdw>
        </a:effectLst>
      </dsp:spPr>
      <dsp:style>
        <a:lnRef idx="0">
          <a:scrgbClr r="0" g="0" b="0"/>
        </a:lnRef>
        <a:fillRef idx="1">
          <a:scrgbClr r="0" g="0" b="0"/>
        </a:fillRef>
        <a:effectRef idx="0">
          <a:scrgbClr r="0" g="0" b="0"/>
        </a:effectRef>
        <a:fontRef idx="minor"/>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solidFill>
                <a:schemeClr val="bg1"/>
              </a:solidFill>
            </a:rPr>
            <a:t>Your Manager</a:t>
          </a:r>
        </a:p>
      </dsp:txBody>
      <dsp:txXfrm>
        <a:off x="0" y="1816614"/>
        <a:ext cx="3200400" cy="659457"/>
      </dsp:txXfrm>
    </dsp:sp>
    <dsp:sp modelId="{127D3B33-719E-4D1D-9080-17A12111A0B0}">
      <dsp:nvSpPr>
        <dsp:cNvPr id="0" name=""/>
        <dsp:cNvSpPr/>
      </dsp:nvSpPr>
      <dsp:spPr>
        <a:xfrm>
          <a:off x="6415359" y="1871569"/>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6431455" y="1887665"/>
        <a:ext cx="792129" cy="517355"/>
      </dsp:txXfrm>
    </dsp:sp>
    <dsp:sp modelId="{F6D9BAD0-C159-4B3F-B7D9-0E7997766A71}">
      <dsp:nvSpPr>
        <dsp:cNvPr id="0" name=""/>
        <dsp:cNvSpPr/>
      </dsp:nvSpPr>
      <dsp:spPr>
        <a:xfrm>
          <a:off x="4684283" y="2421117"/>
          <a:ext cx="2143236" cy="219819"/>
        </a:xfrm>
        <a:custGeom>
          <a:avLst/>
          <a:gdLst/>
          <a:ahLst/>
          <a:cxnLst/>
          <a:rect l="0" t="0" r="0" b="0"/>
          <a:pathLst>
            <a:path>
              <a:moveTo>
                <a:pt x="2143236" y="0"/>
              </a:moveTo>
              <a:lnTo>
                <a:pt x="2143236" y="109909"/>
              </a:lnTo>
              <a:lnTo>
                <a:pt x="0" y="109909"/>
              </a:lnTo>
              <a:lnTo>
                <a:pt x="0" y="219819"/>
              </a:lnTo>
            </a:path>
          </a:pathLst>
        </a:custGeom>
        <a:noFill/>
        <a:ln w="254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CC671C13-58C6-4A76-B11E-E6832B3109E2}">
      <dsp:nvSpPr>
        <dsp:cNvPr id="0" name=""/>
        <dsp:cNvSpPr/>
      </dsp:nvSpPr>
      <dsp:spPr>
        <a:xfrm>
          <a:off x="4272122"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4288218" y="2657032"/>
        <a:ext cx="792129" cy="517355"/>
      </dsp:txXfrm>
    </dsp:sp>
    <dsp:sp modelId="{AB967EAA-DF23-45A5-9E22-79489EF07869}">
      <dsp:nvSpPr>
        <dsp:cNvPr id="0" name=""/>
        <dsp:cNvSpPr/>
      </dsp:nvSpPr>
      <dsp:spPr>
        <a:xfrm>
          <a:off x="4148474" y="3190484"/>
          <a:ext cx="535809" cy="219819"/>
        </a:xfrm>
        <a:custGeom>
          <a:avLst/>
          <a:gdLst/>
          <a:ahLst/>
          <a:cxnLst/>
          <a:rect l="0" t="0" r="0" b="0"/>
          <a:pathLst>
            <a:path>
              <a:moveTo>
                <a:pt x="535809" y="0"/>
              </a:moveTo>
              <a:lnTo>
                <a:pt x="535809"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1883F37A-67B2-43AA-A6BB-8B26883AD956}">
      <dsp:nvSpPr>
        <dsp:cNvPr id="0" name=""/>
        <dsp:cNvSpPr/>
      </dsp:nvSpPr>
      <dsp:spPr>
        <a:xfrm>
          <a:off x="3736313"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3752409" y="3426399"/>
        <a:ext cx="792129" cy="517355"/>
      </dsp:txXfrm>
    </dsp:sp>
    <dsp:sp modelId="{16302290-C701-4DAB-B485-8240FB4ABACC}">
      <dsp:nvSpPr>
        <dsp:cNvPr id="0" name=""/>
        <dsp:cNvSpPr/>
      </dsp:nvSpPr>
      <dsp:spPr>
        <a:xfrm>
          <a:off x="4684283" y="3190484"/>
          <a:ext cx="535809" cy="219819"/>
        </a:xfrm>
        <a:custGeom>
          <a:avLst/>
          <a:gdLst/>
          <a:ahLst/>
          <a:cxnLst/>
          <a:rect l="0" t="0" r="0" b="0"/>
          <a:pathLst>
            <a:path>
              <a:moveTo>
                <a:pt x="0" y="0"/>
              </a:moveTo>
              <a:lnTo>
                <a:pt x="0" y="109909"/>
              </a:lnTo>
              <a:lnTo>
                <a:pt x="535809" y="109909"/>
              </a:lnTo>
              <a:lnTo>
                <a:pt x="535809"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7D9F28C-72DC-4E52-8FB1-3E79BF90BD3D}">
      <dsp:nvSpPr>
        <dsp:cNvPr id="0" name=""/>
        <dsp:cNvSpPr/>
      </dsp:nvSpPr>
      <dsp:spPr>
        <a:xfrm>
          <a:off x="4807931"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4824027" y="3426399"/>
        <a:ext cx="792129" cy="517355"/>
      </dsp:txXfrm>
    </dsp:sp>
    <dsp:sp modelId="{250A0804-1C40-449F-A81A-A9ADC5BC7A61}">
      <dsp:nvSpPr>
        <dsp:cNvPr id="0" name=""/>
        <dsp:cNvSpPr/>
      </dsp:nvSpPr>
      <dsp:spPr>
        <a:xfrm>
          <a:off x="3612665" y="3959851"/>
          <a:ext cx="1607427" cy="219819"/>
        </a:xfrm>
        <a:custGeom>
          <a:avLst/>
          <a:gdLst/>
          <a:ahLst/>
          <a:cxnLst/>
          <a:rect l="0" t="0" r="0" b="0"/>
          <a:pathLst>
            <a:path>
              <a:moveTo>
                <a:pt x="1607427" y="0"/>
              </a:moveTo>
              <a:lnTo>
                <a:pt x="1607427"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AA846796-AA5F-4B2F-9840-0925DB1FE69F}">
      <dsp:nvSpPr>
        <dsp:cNvPr id="0" name=""/>
        <dsp:cNvSpPr/>
      </dsp:nvSpPr>
      <dsp:spPr>
        <a:xfrm>
          <a:off x="3200504"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216600" y="4195766"/>
        <a:ext cx="792129" cy="517355"/>
      </dsp:txXfrm>
    </dsp:sp>
    <dsp:sp modelId="{D3C68F7C-DF79-4163-8AF7-E33CE0BF20C4}">
      <dsp:nvSpPr>
        <dsp:cNvPr id="0" name=""/>
        <dsp:cNvSpPr/>
      </dsp:nvSpPr>
      <dsp:spPr>
        <a:xfrm>
          <a:off x="4684283" y="3959851"/>
          <a:ext cx="535809" cy="219819"/>
        </a:xfrm>
        <a:custGeom>
          <a:avLst/>
          <a:gdLst/>
          <a:ahLst/>
          <a:cxnLst/>
          <a:rect l="0" t="0" r="0" b="0"/>
          <a:pathLst>
            <a:path>
              <a:moveTo>
                <a:pt x="535809" y="0"/>
              </a:moveTo>
              <a:lnTo>
                <a:pt x="535809"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6F1F32DA-F2C0-4D86-A2E4-34B807564B5E}">
      <dsp:nvSpPr>
        <dsp:cNvPr id="0" name=""/>
        <dsp:cNvSpPr/>
      </dsp:nvSpPr>
      <dsp:spPr>
        <a:xfrm>
          <a:off x="4272122"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288218" y="4195766"/>
        <a:ext cx="792129" cy="517355"/>
      </dsp:txXfrm>
    </dsp:sp>
    <dsp:sp modelId="{BEEBD014-CFC8-46D3-B010-871D4607FCF0}">
      <dsp:nvSpPr>
        <dsp:cNvPr id="0" name=""/>
        <dsp:cNvSpPr/>
      </dsp:nvSpPr>
      <dsp:spPr>
        <a:xfrm>
          <a:off x="5220092" y="3959851"/>
          <a:ext cx="535809" cy="219819"/>
        </a:xfrm>
        <a:custGeom>
          <a:avLst/>
          <a:gdLst/>
          <a:ahLst/>
          <a:cxnLst/>
          <a:rect l="0" t="0" r="0" b="0"/>
          <a:pathLst>
            <a:path>
              <a:moveTo>
                <a:pt x="0" y="0"/>
              </a:moveTo>
              <a:lnTo>
                <a:pt x="0" y="109909"/>
              </a:lnTo>
              <a:lnTo>
                <a:pt x="535809" y="109909"/>
              </a:lnTo>
              <a:lnTo>
                <a:pt x="535809"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C1621B-FFE7-4595-AF02-D305C7CE7479}">
      <dsp:nvSpPr>
        <dsp:cNvPr id="0" name=""/>
        <dsp:cNvSpPr/>
      </dsp:nvSpPr>
      <dsp:spPr>
        <a:xfrm>
          <a:off x="5343740"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359836" y="4195766"/>
        <a:ext cx="792129" cy="517355"/>
      </dsp:txXfrm>
    </dsp:sp>
    <dsp:sp modelId="{94782508-8EE4-44B3-9499-2ADABCA82DA2}">
      <dsp:nvSpPr>
        <dsp:cNvPr id="0" name=""/>
        <dsp:cNvSpPr/>
      </dsp:nvSpPr>
      <dsp:spPr>
        <a:xfrm>
          <a:off x="4684283" y="4729218"/>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C7A741EB-9991-4FA7-BDEE-F85AB7E44177}">
      <dsp:nvSpPr>
        <dsp:cNvPr id="0" name=""/>
        <dsp:cNvSpPr/>
      </dsp:nvSpPr>
      <dsp:spPr>
        <a:xfrm>
          <a:off x="4272122"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a:p>
          <a:pPr marL="0" lvl="0" indent="0" algn="ctr" defTabSz="533400">
            <a:lnSpc>
              <a:spcPct val="90000"/>
            </a:lnSpc>
            <a:spcBef>
              <a:spcPct val="0"/>
            </a:spcBef>
            <a:spcAft>
              <a:spcPct val="35000"/>
            </a:spcAft>
            <a:buNone/>
          </a:pPr>
          <a:endParaRPr lang="en-US" sz="1200" kern="1200" dirty="0"/>
        </a:p>
      </dsp:txBody>
      <dsp:txXfrm>
        <a:off x="4288218" y="4965133"/>
        <a:ext cx="792129" cy="517355"/>
      </dsp:txXfrm>
    </dsp:sp>
    <dsp:sp modelId="{AB0202CE-5EC8-48BC-A497-623197E4857D}">
      <dsp:nvSpPr>
        <dsp:cNvPr id="0" name=""/>
        <dsp:cNvSpPr/>
      </dsp:nvSpPr>
      <dsp:spPr>
        <a:xfrm>
          <a:off x="5710181" y="4729218"/>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6AF119-23A1-4014-8659-50DA4304A5B8}">
      <dsp:nvSpPr>
        <dsp:cNvPr id="0" name=""/>
        <dsp:cNvSpPr/>
      </dsp:nvSpPr>
      <dsp:spPr>
        <a:xfrm>
          <a:off x="5343740"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5359836" y="4965133"/>
        <a:ext cx="792129" cy="517355"/>
      </dsp:txXfrm>
    </dsp:sp>
    <dsp:sp modelId="{A95C36C4-8283-4B01-9672-FA29E979D380}">
      <dsp:nvSpPr>
        <dsp:cNvPr id="0" name=""/>
        <dsp:cNvSpPr/>
      </dsp:nvSpPr>
      <dsp:spPr>
        <a:xfrm>
          <a:off x="5755901" y="4729218"/>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582AD9B7-8F29-4F13-95B3-C1CD7231370D}">
      <dsp:nvSpPr>
        <dsp:cNvPr id="0" name=""/>
        <dsp:cNvSpPr/>
      </dsp:nvSpPr>
      <dsp:spPr>
        <a:xfrm>
          <a:off x="6415359"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6431455" y="4965133"/>
        <a:ext cx="792129" cy="517355"/>
      </dsp:txXfrm>
    </dsp:sp>
    <dsp:sp modelId="{A5DEEF18-0418-453C-BFDD-B6504EB93C71}">
      <dsp:nvSpPr>
        <dsp:cNvPr id="0" name=""/>
        <dsp:cNvSpPr/>
      </dsp:nvSpPr>
      <dsp:spPr>
        <a:xfrm>
          <a:off x="5220092" y="3959851"/>
          <a:ext cx="1607427" cy="219819"/>
        </a:xfrm>
        <a:custGeom>
          <a:avLst/>
          <a:gdLst/>
          <a:ahLst/>
          <a:cxnLst/>
          <a:rect l="0" t="0" r="0" b="0"/>
          <a:pathLst>
            <a:path>
              <a:moveTo>
                <a:pt x="0" y="0"/>
              </a:moveTo>
              <a:lnTo>
                <a:pt x="0" y="109909"/>
              </a:lnTo>
              <a:lnTo>
                <a:pt x="1607427" y="109909"/>
              </a:lnTo>
              <a:lnTo>
                <a:pt x="1607427"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C774485-74FF-41BF-A922-3BC57F331365}">
      <dsp:nvSpPr>
        <dsp:cNvPr id="0" name=""/>
        <dsp:cNvSpPr/>
      </dsp:nvSpPr>
      <dsp:spPr>
        <a:xfrm>
          <a:off x="6415359"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6431455" y="4195766"/>
        <a:ext cx="792129" cy="517355"/>
      </dsp:txXfrm>
    </dsp:sp>
    <dsp:sp modelId="{C950A479-0EB6-41A5-88B4-4BF566C00EA3}">
      <dsp:nvSpPr>
        <dsp:cNvPr id="0" name=""/>
        <dsp:cNvSpPr/>
      </dsp:nvSpPr>
      <dsp:spPr>
        <a:xfrm>
          <a:off x="6827519" y="2421117"/>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976998B-5F74-4238-81FE-9DF932002021}">
      <dsp:nvSpPr>
        <dsp:cNvPr id="0" name=""/>
        <dsp:cNvSpPr/>
      </dsp:nvSpPr>
      <dsp:spPr>
        <a:xfrm>
          <a:off x="7486977"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7503073" y="2657032"/>
        <a:ext cx="792129" cy="517355"/>
      </dsp:txXfrm>
    </dsp:sp>
    <dsp:sp modelId="{70A3C057-5949-423F-A85F-D2B079D4D4B1}">
      <dsp:nvSpPr>
        <dsp:cNvPr id="0" name=""/>
        <dsp:cNvSpPr/>
      </dsp:nvSpPr>
      <dsp:spPr>
        <a:xfrm>
          <a:off x="6827519" y="3190484"/>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45B58C7B-2F8F-4E80-A5DA-23D84E4DABE3}">
      <dsp:nvSpPr>
        <dsp:cNvPr id="0" name=""/>
        <dsp:cNvSpPr/>
      </dsp:nvSpPr>
      <dsp:spPr>
        <a:xfrm>
          <a:off x="6415359"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6431455" y="3426399"/>
        <a:ext cx="792129" cy="517355"/>
      </dsp:txXfrm>
    </dsp:sp>
    <dsp:sp modelId="{ED670C13-4ADD-44CA-9D66-F0E0A43860CC}">
      <dsp:nvSpPr>
        <dsp:cNvPr id="0" name=""/>
        <dsp:cNvSpPr/>
      </dsp:nvSpPr>
      <dsp:spPr>
        <a:xfrm>
          <a:off x="7853418" y="3190484"/>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87AC4A-F51E-4C6D-8BFA-941245E20B69}">
      <dsp:nvSpPr>
        <dsp:cNvPr id="0" name=""/>
        <dsp:cNvSpPr/>
      </dsp:nvSpPr>
      <dsp:spPr>
        <a:xfrm>
          <a:off x="7486977"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7503073" y="3426399"/>
        <a:ext cx="792129" cy="517355"/>
      </dsp:txXfrm>
    </dsp:sp>
    <dsp:sp modelId="{DCB6E461-FF44-4EDA-AF30-EB89DB9B80DF}">
      <dsp:nvSpPr>
        <dsp:cNvPr id="0" name=""/>
        <dsp:cNvSpPr/>
      </dsp:nvSpPr>
      <dsp:spPr>
        <a:xfrm>
          <a:off x="7899138" y="3190484"/>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6C1B0F9-EDA3-45C8-8CF3-540E20D77FE0}">
      <dsp:nvSpPr>
        <dsp:cNvPr id="0" name=""/>
        <dsp:cNvSpPr/>
      </dsp:nvSpPr>
      <dsp:spPr>
        <a:xfrm>
          <a:off x="8558595"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74691" y="3426399"/>
        <a:ext cx="792129" cy="517355"/>
      </dsp:txXfrm>
    </dsp:sp>
    <dsp:sp modelId="{E10F6EF7-BA34-4DD7-B0CB-6215B1A63FDF}">
      <dsp:nvSpPr>
        <dsp:cNvPr id="0" name=""/>
        <dsp:cNvSpPr/>
      </dsp:nvSpPr>
      <dsp:spPr>
        <a:xfrm>
          <a:off x="7899138" y="3959851"/>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38636472-2FAB-4308-9CE8-9FE29BAEDC7E}">
      <dsp:nvSpPr>
        <dsp:cNvPr id="0" name=""/>
        <dsp:cNvSpPr/>
      </dsp:nvSpPr>
      <dsp:spPr>
        <a:xfrm>
          <a:off x="7486977"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503073" y="4195766"/>
        <a:ext cx="792129" cy="517355"/>
      </dsp:txXfrm>
    </dsp:sp>
    <dsp:sp modelId="{D88E10BA-53E6-467C-A7E0-06436D9E61BE}">
      <dsp:nvSpPr>
        <dsp:cNvPr id="0" name=""/>
        <dsp:cNvSpPr/>
      </dsp:nvSpPr>
      <dsp:spPr>
        <a:xfrm>
          <a:off x="8925036" y="3959851"/>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FBDA1C-C874-4F01-AF37-C3096FED922E}">
      <dsp:nvSpPr>
        <dsp:cNvPr id="0" name=""/>
        <dsp:cNvSpPr/>
      </dsp:nvSpPr>
      <dsp:spPr>
        <a:xfrm>
          <a:off x="8558595"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74691" y="4195766"/>
        <a:ext cx="792129" cy="517355"/>
      </dsp:txXfrm>
    </dsp:sp>
    <dsp:sp modelId="{72EBBE43-285A-47BC-9CD8-6D2E6113B1E2}">
      <dsp:nvSpPr>
        <dsp:cNvPr id="0" name=""/>
        <dsp:cNvSpPr/>
      </dsp:nvSpPr>
      <dsp:spPr>
        <a:xfrm>
          <a:off x="8970756" y="3959851"/>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0A8C54FF-7D2E-46A8-BA71-B84296E5E964}">
      <dsp:nvSpPr>
        <dsp:cNvPr id="0" name=""/>
        <dsp:cNvSpPr/>
      </dsp:nvSpPr>
      <dsp:spPr>
        <a:xfrm>
          <a:off x="9630214"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9646310" y="4195766"/>
        <a:ext cx="792129" cy="517355"/>
      </dsp:txXfrm>
    </dsp:sp>
    <dsp:sp modelId="{F291E371-CD14-403D-A723-65A03D12A7FF}">
      <dsp:nvSpPr>
        <dsp:cNvPr id="0" name=""/>
        <dsp:cNvSpPr/>
      </dsp:nvSpPr>
      <dsp:spPr>
        <a:xfrm>
          <a:off x="9996654" y="4729218"/>
          <a:ext cx="91440" cy="219819"/>
        </a:xfrm>
        <a:custGeom>
          <a:avLst/>
          <a:gdLst/>
          <a:ahLst/>
          <a:cxnLst/>
          <a:rect l="0" t="0" r="0" b="0"/>
          <a:pathLst>
            <a:path>
              <a:moveTo>
                <a:pt x="45720" y="0"/>
              </a:moveTo>
              <a:lnTo>
                <a:pt x="4572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393D0264-7D93-463D-91A9-934FC57FFF7F}">
      <dsp:nvSpPr>
        <dsp:cNvPr id="0" name=""/>
        <dsp:cNvSpPr/>
      </dsp:nvSpPr>
      <dsp:spPr>
        <a:xfrm>
          <a:off x="9630214"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9646310" y="4965133"/>
        <a:ext cx="792129" cy="517355"/>
      </dsp:txXfrm>
    </dsp:sp>
    <dsp:sp modelId="{0A2B502C-2983-4F3C-80EA-EFB6C1B8D582}">
      <dsp:nvSpPr>
        <dsp:cNvPr id="0" name=""/>
        <dsp:cNvSpPr/>
      </dsp:nvSpPr>
      <dsp:spPr>
        <a:xfrm>
          <a:off x="6827519" y="2421117"/>
          <a:ext cx="2143236" cy="219819"/>
        </a:xfrm>
        <a:custGeom>
          <a:avLst/>
          <a:gdLst/>
          <a:ahLst/>
          <a:cxnLst/>
          <a:rect l="0" t="0" r="0" b="0"/>
          <a:pathLst>
            <a:path>
              <a:moveTo>
                <a:pt x="0" y="0"/>
              </a:moveTo>
              <a:lnTo>
                <a:pt x="0" y="109909"/>
              </a:lnTo>
              <a:lnTo>
                <a:pt x="2143236" y="109909"/>
              </a:lnTo>
              <a:lnTo>
                <a:pt x="2143236" y="219819"/>
              </a:lnTo>
            </a:path>
          </a:pathLst>
        </a:custGeom>
        <a:noFill/>
        <a:ln w="254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00AB41C9-6D2A-4640-86FB-7C5B89DA0554}">
      <dsp:nvSpPr>
        <dsp:cNvPr id="0" name=""/>
        <dsp:cNvSpPr/>
      </dsp:nvSpPr>
      <dsp:spPr>
        <a:xfrm>
          <a:off x="8558595"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8574691" y="2657032"/>
        <a:ext cx="792129" cy="51735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233D1F-A65A-4786-B45D-09F14ABA5279}">
      <dsp:nvSpPr>
        <dsp:cNvPr id="0" name=""/>
        <dsp:cNvSpPr/>
      </dsp:nvSpPr>
      <dsp:spPr>
        <a:xfrm>
          <a:off x="0" y="2590802"/>
          <a:ext cx="10668000" cy="2607494"/>
        </a:xfrm>
        <a:prstGeom prst="roundRect">
          <a:avLst>
            <a:gd name="adj" fmla="val 10000"/>
          </a:avLst>
        </a:prstGeom>
        <a:solidFill>
          <a:srgbClr val="92D050"/>
        </a:solidFill>
        <a:ln>
          <a:solidFill>
            <a:schemeClr val="bg1"/>
          </a:solidFill>
        </a:ln>
        <a:effectLst>
          <a:outerShdw blurRad="76200" dir="13500000" sy="23000" kx="1200000" algn="br" rotWithShape="0">
            <a:prstClr val="black">
              <a:alpha val="20000"/>
            </a:prstClr>
          </a:outerShdw>
        </a:effectLst>
      </dsp:spPr>
      <dsp:style>
        <a:lnRef idx="0">
          <a:scrgbClr r="0" g="0" b="0"/>
        </a:lnRef>
        <a:fillRef idx="1">
          <a:scrgbClr r="0" g="0" b="0"/>
        </a:fillRef>
        <a:effectRef idx="0">
          <a:scrgbClr r="0" g="0" b="0"/>
        </a:effectRef>
        <a:fontRef idx="minor"/>
      </dsp:style>
      <dsp:txBody>
        <a:bodyPr spcFirstLastPara="0" vert="horz" wrap="square" lIns="455168" tIns="455168" rIns="455168" bIns="455168" numCol="1" spcCol="1270" anchor="ctr" anchorCtr="0">
          <a:noAutofit/>
        </a:bodyPr>
        <a:lstStyle/>
        <a:p>
          <a:pPr marL="0" lvl="0" indent="0" algn="ctr" defTabSz="2844800">
            <a:lnSpc>
              <a:spcPct val="90000"/>
            </a:lnSpc>
            <a:spcBef>
              <a:spcPct val="0"/>
            </a:spcBef>
            <a:spcAft>
              <a:spcPct val="35000"/>
            </a:spcAft>
            <a:buNone/>
          </a:pPr>
          <a:r>
            <a:rPr lang="en-US" sz="6400" b="1" kern="1200" dirty="0">
              <a:solidFill>
                <a:schemeClr val="bg1"/>
              </a:solidFill>
            </a:rPr>
            <a:t>Others</a:t>
          </a:r>
        </a:p>
      </dsp:txBody>
      <dsp:txXfrm>
        <a:off x="0" y="2590802"/>
        <a:ext cx="3200400" cy="2607494"/>
      </dsp:txXfrm>
    </dsp:sp>
    <dsp:sp modelId="{789920EF-67C2-44D1-9100-51B6F3F7EB7C}">
      <dsp:nvSpPr>
        <dsp:cNvPr id="0" name=""/>
        <dsp:cNvSpPr/>
      </dsp:nvSpPr>
      <dsp:spPr>
        <a:xfrm>
          <a:off x="0" y="1816614"/>
          <a:ext cx="10668000" cy="659457"/>
        </a:xfrm>
        <a:prstGeom prst="roundRect">
          <a:avLst>
            <a:gd name="adj" fmla="val 10000"/>
          </a:avLst>
        </a:prstGeom>
        <a:solidFill>
          <a:srgbClr val="0080C0"/>
        </a:solidFill>
        <a:ln>
          <a:noFill/>
        </a:ln>
        <a:effectLst>
          <a:outerShdw blurRad="76200" dir="13500000" sy="23000" kx="1200000" algn="br" rotWithShape="0">
            <a:prstClr val="black">
              <a:alpha val="20000"/>
            </a:prstClr>
          </a:outerShdw>
        </a:effectLst>
      </dsp:spPr>
      <dsp:style>
        <a:lnRef idx="0">
          <a:scrgbClr r="0" g="0" b="0"/>
        </a:lnRef>
        <a:fillRef idx="1">
          <a:scrgbClr r="0" g="0" b="0"/>
        </a:fillRef>
        <a:effectRef idx="0">
          <a:scrgbClr r="0" g="0" b="0"/>
        </a:effectRef>
        <a:fontRef idx="minor"/>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endParaRPr lang="en-US" sz="3200" b="1" kern="1200" dirty="0">
            <a:solidFill>
              <a:schemeClr val="bg1"/>
            </a:solidFill>
          </a:endParaRPr>
        </a:p>
      </dsp:txBody>
      <dsp:txXfrm>
        <a:off x="0" y="1816614"/>
        <a:ext cx="3200400" cy="659457"/>
      </dsp:txXfrm>
    </dsp:sp>
    <dsp:sp modelId="{127D3B33-719E-4D1D-9080-17A12111A0B0}">
      <dsp:nvSpPr>
        <dsp:cNvPr id="0" name=""/>
        <dsp:cNvSpPr/>
      </dsp:nvSpPr>
      <dsp:spPr>
        <a:xfrm>
          <a:off x="6415359" y="1871569"/>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6431455" y="1887665"/>
        <a:ext cx="792129" cy="517355"/>
      </dsp:txXfrm>
    </dsp:sp>
    <dsp:sp modelId="{F6D9BAD0-C159-4B3F-B7D9-0E7997766A71}">
      <dsp:nvSpPr>
        <dsp:cNvPr id="0" name=""/>
        <dsp:cNvSpPr/>
      </dsp:nvSpPr>
      <dsp:spPr>
        <a:xfrm>
          <a:off x="4684283" y="2421117"/>
          <a:ext cx="2143236" cy="219819"/>
        </a:xfrm>
        <a:custGeom>
          <a:avLst/>
          <a:gdLst/>
          <a:ahLst/>
          <a:cxnLst/>
          <a:rect l="0" t="0" r="0" b="0"/>
          <a:pathLst>
            <a:path>
              <a:moveTo>
                <a:pt x="2143236" y="0"/>
              </a:moveTo>
              <a:lnTo>
                <a:pt x="2143236" y="109909"/>
              </a:lnTo>
              <a:lnTo>
                <a:pt x="0" y="109909"/>
              </a:lnTo>
              <a:lnTo>
                <a:pt x="0" y="219819"/>
              </a:lnTo>
            </a:path>
          </a:pathLst>
        </a:custGeom>
        <a:noFill/>
        <a:ln w="254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CC671C13-58C6-4A76-B11E-E6832B3109E2}">
      <dsp:nvSpPr>
        <dsp:cNvPr id="0" name=""/>
        <dsp:cNvSpPr/>
      </dsp:nvSpPr>
      <dsp:spPr>
        <a:xfrm>
          <a:off x="4272122"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4288218" y="2657032"/>
        <a:ext cx="792129" cy="517355"/>
      </dsp:txXfrm>
    </dsp:sp>
    <dsp:sp modelId="{AB967EAA-DF23-45A5-9E22-79489EF07869}">
      <dsp:nvSpPr>
        <dsp:cNvPr id="0" name=""/>
        <dsp:cNvSpPr/>
      </dsp:nvSpPr>
      <dsp:spPr>
        <a:xfrm>
          <a:off x="4148474" y="3190484"/>
          <a:ext cx="535809" cy="219819"/>
        </a:xfrm>
        <a:custGeom>
          <a:avLst/>
          <a:gdLst/>
          <a:ahLst/>
          <a:cxnLst/>
          <a:rect l="0" t="0" r="0" b="0"/>
          <a:pathLst>
            <a:path>
              <a:moveTo>
                <a:pt x="535809" y="0"/>
              </a:moveTo>
              <a:lnTo>
                <a:pt x="535809"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1883F37A-67B2-43AA-A6BB-8B26883AD956}">
      <dsp:nvSpPr>
        <dsp:cNvPr id="0" name=""/>
        <dsp:cNvSpPr/>
      </dsp:nvSpPr>
      <dsp:spPr>
        <a:xfrm>
          <a:off x="3736313"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3752409" y="3426399"/>
        <a:ext cx="792129" cy="517355"/>
      </dsp:txXfrm>
    </dsp:sp>
    <dsp:sp modelId="{16302290-C701-4DAB-B485-8240FB4ABACC}">
      <dsp:nvSpPr>
        <dsp:cNvPr id="0" name=""/>
        <dsp:cNvSpPr/>
      </dsp:nvSpPr>
      <dsp:spPr>
        <a:xfrm>
          <a:off x="4684283" y="3190484"/>
          <a:ext cx="535809" cy="219819"/>
        </a:xfrm>
        <a:custGeom>
          <a:avLst/>
          <a:gdLst/>
          <a:ahLst/>
          <a:cxnLst/>
          <a:rect l="0" t="0" r="0" b="0"/>
          <a:pathLst>
            <a:path>
              <a:moveTo>
                <a:pt x="0" y="0"/>
              </a:moveTo>
              <a:lnTo>
                <a:pt x="0" y="109909"/>
              </a:lnTo>
              <a:lnTo>
                <a:pt x="535809" y="109909"/>
              </a:lnTo>
              <a:lnTo>
                <a:pt x="535809"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7D9F28C-72DC-4E52-8FB1-3E79BF90BD3D}">
      <dsp:nvSpPr>
        <dsp:cNvPr id="0" name=""/>
        <dsp:cNvSpPr/>
      </dsp:nvSpPr>
      <dsp:spPr>
        <a:xfrm>
          <a:off x="4807931"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4824027" y="3426399"/>
        <a:ext cx="792129" cy="517355"/>
      </dsp:txXfrm>
    </dsp:sp>
    <dsp:sp modelId="{250A0804-1C40-449F-A81A-A9ADC5BC7A61}">
      <dsp:nvSpPr>
        <dsp:cNvPr id="0" name=""/>
        <dsp:cNvSpPr/>
      </dsp:nvSpPr>
      <dsp:spPr>
        <a:xfrm>
          <a:off x="3612665" y="3959851"/>
          <a:ext cx="1607427" cy="219819"/>
        </a:xfrm>
        <a:custGeom>
          <a:avLst/>
          <a:gdLst/>
          <a:ahLst/>
          <a:cxnLst/>
          <a:rect l="0" t="0" r="0" b="0"/>
          <a:pathLst>
            <a:path>
              <a:moveTo>
                <a:pt x="1607427" y="0"/>
              </a:moveTo>
              <a:lnTo>
                <a:pt x="1607427"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AA846796-AA5F-4B2F-9840-0925DB1FE69F}">
      <dsp:nvSpPr>
        <dsp:cNvPr id="0" name=""/>
        <dsp:cNvSpPr/>
      </dsp:nvSpPr>
      <dsp:spPr>
        <a:xfrm>
          <a:off x="3200504"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216600" y="4195766"/>
        <a:ext cx="792129" cy="517355"/>
      </dsp:txXfrm>
    </dsp:sp>
    <dsp:sp modelId="{D3C68F7C-DF79-4163-8AF7-E33CE0BF20C4}">
      <dsp:nvSpPr>
        <dsp:cNvPr id="0" name=""/>
        <dsp:cNvSpPr/>
      </dsp:nvSpPr>
      <dsp:spPr>
        <a:xfrm>
          <a:off x="4684283" y="3959851"/>
          <a:ext cx="535809" cy="219819"/>
        </a:xfrm>
        <a:custGeom>
          <a:avLst/>
          <a:gdLst/>
          <a:ahLst/>
          <a:cxnLst/>
          <a:rect l="0" t="0" r="0" b="0"/>
          <a:pathLst>
            <a:path>
              <a:moveTo>
                <a:pt x="535809" y="0"/>
              </a:moveTo>
              <a:lnTo>
                <a:pt x="535809"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6F1F32DA-F2C0-4D86-A2E4-34B807564B5E}">
      <dsp:nvSpPr>
        <dsp:cNvPr id="0" name=""/>
        <dsp:cNvSpPr/>
      </dsp:nvSpPr>
      <dsp:spPr>
        <a:xfrm>
          <a:off x="4272122"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4288218" y="4195766"/>
        <a:ext cx="792129" cy="517355"/>
      </dsp:txXfrm>
    </dsp:sp>
    <dsp:sp modelId="{BEEBD014-CFC8-46D3-B010-871D4607FCF0}">
      <dsp:nvSpPr>
        <dsp:cNvPr id="0" name=""/>
        <dsp:cNvSpPr/>
      </dsp:nvSpPr>
      <dsp:spPr>
        <a:xfrm>
          <a:off x="5220092" y="3959851"/>
          <a:ext cx="535809" cy="219819"/>
        </a:xfrm>
        <a:custGeom>
          <a:avLst/>
          <a:gdLst/>
          <a:ahLst/>
          <a:cxnLst/>
          <a:rect l="0" t="0" r="0" b="0"/>
          <a:pathLst>
            <a:path>
              <a:moveTo>
                <a:pt x="0" y="0"/>
              </a:moveTo>
              <a:lnTo>
                <a:pt x="0" y="109909"/>
              </a:lnTo>
              <a:lnTo>
                <a:pt x="535809" y="109909"/>
              </a:lnTo>
              <a:lnTo>
                <a:pt x="535809"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C1621B-FFE7-4595-AF02-D305C7CE7479}">
      <dsp:nvSpPr>
        <dsp:cNvPr id="0" name=""/>
        <dsp:cNvSpPr/>
      </dsp:nvSpPr>
      <dsp:spPr>
        <a:xfrm>
          <a:off x="5343740"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359836" y="4195766"/>
        <a:ext cx="792129" cy="517355"/>
      </dsp:txXfrm>
    </dsp:sp>
    <dsp:sp modelId="{94782508-8EE4-44B3-9499-2ADABCA82DA2}">
      <dsp:nvSpPr>
        <dsp:cNvPr id="0" name=""/>
        <dsp:cNvSpPr/>
      </dsp:nvSpPr>
      <dsp:spPr>
        <a:xfrm>
          <a:off x="4684283" y="4729218"/>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C7A741EB-9991-4FA7-BDEE-F85AB7E44177}">
      <dsp:nvSpPr>
        <dsp:cNvPr id="0" name=""/>
        <dsp:cNvSpPr/>
      </dsp:nvSpPr>
      <dsp:spPr>
        <a:xfrm>
          <a:off x="4272122"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a:p>
          <a:pPr marL="0" lvl="0" indent="0" algn="ctr" defTabSz="533400">
            <a:lnSpc>
              <a:spcPct val="90000"/>
            </a:lnSpc>
            <a:spcBef>
              <a:spcPct val="0"/>
            </a:spcBef>
            <a:spcAft>
              <a:spcPct val="35000"/>
            </a:spcAft>
            <a:buNone/>
          </a:pPr>
          <a:endParaRPr lang="en-US" sz="1200" kern="1200" dirty="0"/>
        </a:p>
      </dsp:txBody>
      <dsp:txXfrm>
        <a:off x="4288218" y="4965133"/>
        <a:ext cx="792129" cy="517355"/>
      </dsp:txXfrm>
    </dsp:sp>
    <dsp:sp modelId="{AB0202CE-5EC8-48BC-A497-623197E4857D}">
      <dsp:nvSpPr>
        <dsp:cNvPr id="0" name=""/>
        <dsp:cNvSpPr/>
      </dsp:nvSpPr>
      <dsp:spPr>
        <a:xfrm>
          <a:off x="5710181" y="4729218"/>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6AF119-23A1-4014-8659-50DA4304A5B8}">
      <dsp:nvSpPr>
        <dsp:cNvPr id="0" name=""/>
        <dsp:cNvSpPr/>
      </dsp:nvSpPr>
      <dsp:spPr>
        <a:xfrm>
          <a:off x="5343740"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5359836" y="4965133"/>
        <a:ext cx="792129" cy="517355"/>
      </dsp:txXfrm>
    </dsp:sp>
    <dsp:sp modelId="{A95C36C4-8283-4B01-9672-FA29E979D380}">
      <dsp:nvSpPr>
        <dsp:cNvPr id="0" name=""/>
        <dsp:cNvSpPr/>
      </dsp:nvSpPr>
      <dsp:spPr>
        <a:xfrm>
          <a:off x="5755901" y="4729218"/>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582AD9B7-8F29-4F13-95B3-C1CD7231370D}">
      <dsp:nvSpPr>
        <dsp:cNvPr id="0" name=""/>
        <dsp:cNvSpPr/>
      </dsp:nvSpPr>
      <dsp:spPr>
        <a:xfrm>
          <a:off x="6415359"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6431455" y="4965133"/>
        <a:ext cx="792129" cy="517355"/>
      </dsp:txXfrm>
    </dsp:sp>
    <dsp:sp modelId="{A5DEEF18-0418-453C-BFDD-B6504EB93C71}">
      <dsp:nvSpPr>
        <dsp:cNvPr id="0" name=""/>
        <dsp:cNvSpPr/>
      </dsp:nvSpPr>
      <dsp:spPr>
        <a:xfrm>
          <a:off x="5220092" y="3959851"/>
          <a:ext cx="1607427" cy="219819"/>
        </a:xfrm>
        <a:custGeom>
          <a:avLst/>
          <a:gdLst/>
          <a:ahLst/>
          <a:cxnLst/>
          <a:rect l="0" t="0" r="0" b="0"/>
          <a:pathLst>
            <a:path>
              <a:moveTo>
                <a:pt x="0" y="0"/>
              </a:moveTo>
              <a:lnTo>
                <a:pt x="0" y="109909"/>
              </a:lnTo>
              <a:lnTo>
                <a:pt x="1607427" y="109909"/>
              </a:lnTo>
              <a:lnTo>
                <a:pt x="1607427"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9C774485-74FF-41BF-A922-3BC57F331365}">
      <dsp:nvSpPr>
        <dsp:cNvPr id="0" name=""/>
        <dsp:cNvSpPr/>
      </dsp:nvSpPr>
      <dsp:spPr>
        <a:xfrm>
          <a:off x="6415359"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6431455" y="4195766"/>
        <a:ext cx="792129" cy="517355"/>
      </dsp:txXfrm>
    </dsp:sp>
    <dsp:sp modelId="{C950A479-0EB6-41A5-88B4-4BF566C00EA3}">
      <dsp:nvSpPr>
        <dsp:cNvPr id="0" name=""/>
        <dsp:cNvSpPr/>
      </dsp:nvSpPr>
      <dsp:spPr>
        <a:xfrm>
          <a:off x="6827519" y="2421117"/>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976998B-5F74-4238-81FE-9DF932002021}">
      <dsp:nvSpPr>
        <dsp:cNvPr id="0" name=""/>
        <dsp:cNvSpPr/>
      </dsp:nvSpPr>
      <dsp:spPr>
        <a:xfrm>
          <a:off x="7486977"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7503073" y="2657032"/>
        <a:ext cx="792129" cy="517355"/>
      </dsp:txXfrm>
    </dsp:sp>
    <dsp:sp modelId="{70A3C057-5949-423F-A85F-D2B079D4D4B1}">
      <dsp:nvSpPr>
        <dsp:cNvPr id="0" name=""/>
        <dsp:cNvSpPr/>
      </dsp:nvSpPr>
      <dsp:spPr>
        <a:xfrm>
          <a:off x="6827519" y="3190484"/>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45B58C7B-2F8F-4E80-A5DA-23D84E4DABE3}">
      <dsp:nvSpPr>
        <dsp:cNvPr id="0" name=""/>
        <dsp:cNvSpPr/>
      </dsp:nvSpPr>
      <dsp:spPr>
        <a:xfrm>
          <a:off x="6415359"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lumMod val="75000"/>
              </a:schemeClr>
            </a:solidFill>
          </a:endParaRPr>
        </a:p>
      </dsp:txBody>
      <dsp:txXfrm>
        <a:off x="6431455" y="3426399"/>
        <a:ext cx="792129" cy="517355"/>
      </dsp:txXfrm>
    </dsp:sp>
    <dsp:sp modelId="{ED670C13-4ADD-44CA-9D66-F0E0A43860CC}">
      <dsp:nvSpPr>
        <dsp:cNvPr id="0" name=""/>
        <dsp:cNvSpPr/>
      </dsp:nvSpPr>
      <dsp:spPr>
        <a:xfrm>
          <a:off x="7853418" y="3190484"/>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87AC4A-F51E-4C6D-8BFA-941245E20B69}">
      <dsp:nvSpPr>
        <dsp:cNvPr id="0" name=""/>
        <dsp:cNvSpPr/>
      </dsp:nvSpPr>
      <dsp:spPr>
        <a:xfrm>
          <a:off x="7486977"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7503073" y="3426399"/>
        <a:ext cx="792129" cy="517355"/>
      </dsp:txXfrm>
    </dsp:sp>
    <dsp:sp modelId="{DCB6E461-FF44-4EDA-AF30-EB89DB9B80DF}">
      <dsp:nvSpPr>
        <dsp:cNvPr id="0" name=""/>
        <dsp:cNvSpPr/>
      </dsp:nvSpPr>
      <dsp:spPr>
        <a:xfrm>
          <a:off x="7899138" y="3190484"/>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E6C1B0F9-EDA3-45C8-8CF3-540E20D77FE0}">
      <dsp:nvSpPr>
        <dsp:cNvPr id="0" name=""/>
        <dsp:cNvSpPr/>
      </dsp:nvSpPr>
      <dsp:spPr>
        <a:xfrm>
          <a:off x="8558595" y="3410303"/>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74691" y="3426399"/>
        <a:ext cx="792129" cy="517355"/>
      </dsp:txXfrm>
    </dsp:sp>
    <dsp:sp modelId="{E10F6EF7-BA34-4DD7-B0CB-6215B1A63FDF}">
      <dsp:nvSpPr>
        <dsp:cNvPr id="0" name=""/>
        <dsp:cNvSpPr/>
      </dsp:nvSpPr>
      <dsp:spPr>
        <a:xfrm>
          <a:off x="7899138" y="3959851"/>
          <a:ext cx="1071618" cy="219819"/>
        </a:xfrm>
        <a:custGeom>
          <a:avLst/>
          <a:gdLst/>
          <a:ahLst/>
          <a:cxnLst/>
          <a:rect l="0" t="0" r="0" b="0"/>
          <a:pathLst>
            <a:path>
              <a:moveTo>
                <a:pt x="1071618" y="0"/>
              </a:moveTo>
              <a:lnTo>
                <a:pt x="1071618" y="109909"/>
              </a:lnTo>
              <a:lnTo>
                <a:pt x="0" y="109909"/>
              </a:lnTo>
              <a:lnTo>
                <a:pt x="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38636472-2FAB-4308-9CE8-9FE29BAEDC7E}">
      <dsp:nvSpPr>
        <dsp:cNvPr id="0" name=""/>
        <dsp:cNvSpPr/>
      </dsp:nvSpPr>
      <dsp:spPr>
        <a:xfrm>
          <a:off x="7486977"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7503073" y="4195766"/>
        <a:ext cx="792129" cy="517355"/>
      </dsp:txXfrm>
    </dsp:sp>
    <dsp:sp modelId="{D88E10BA-53E6-467C-A7E0-06436D9E61BE}">
      <dsp:nvSpPr>
        <dsp:cNvPr id="0" name=""/>
        <dsp:cNvSpPr/>
      </dsp:nvSpPr>
      <dsp:spPr>
        <a:xfrm>
          <a:off x="8925036" y="3959851"/>
          <a:ext cx="91440" cy="219819"/>
        </a:xfrm>
        <a:custGeom>
          <a:avLst/>
          <a:gdLst/>
          <a:ahLst/>
          <a:cxnLst/>
          <a:rect l="0" t="0" r="0" b="0"/>
          <a:pathLst>
            <a:path>
              <a:moveTo>
                <a:pt x="45720" y="0"/>
              </a:moveTo>
              <a:lnTo>
                <a:pt x="45720" y="21981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FBDA1C-C874-4F01-AF37-C3096FED922E}">
      <dsp:nvSpPr>
        <dsp:cNvPr id="0" name=""/>
        <dsp:cNvSpPr/>
      </dsp:nvSpPr>
      <dsp:spPr>
        <a:xfrm>
          <a:off x="8558595"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74691" y="4195766"/>
        <a:ext cx="792129" cy="517355"/>
      </dsp:txXfrm>
    </dsp:sp>
    <dsp:sp modelId="{72EBBE43-285A-47BC-9CD8-6D2E6113B1E2}">
      <dsp:nvSpPr>
        <dsp:cNvPr id="0" name=""/>
        <dsp:cNvSpPr/>
      </dsp:nvSpPr>
      <dsp:spPr>
        <a:xfrm>
          <a:off x="8970756" y="3959851"/>
          <a:ext cx="1071618" cy="219819"/>
        </a:xfrm>
        <a:custGeom>
          <a:avLst/>
          <a:gdLst/>
          <a:ahLst/>
          <a:cxnLst/>
          <a:rect l="0" t="0" r="0" b="0"/>
          <a:pathLst>
            <a:path>
              <a:moveTo>
                <a:pt x="0" y="0"/>
              </a:moveTo>
              <a:lnTo>
                <a:pt x="0" y="109909"/>
              </a:lnTo>
              <a:lnTo>
                <a:pt x="1071618" y="109909"/>
              </a:lnTo>
              <a:lnTo>
                <a:pt x="1071618"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0A8C54FF-7D2E-46A8-BA71-B84296E5E964}">
      <dsp:nvSpPr>
        <dsp:cNvPr id="0" name=""/>
        <dsp:cNvSpPr/>
      </dsp:nvSpPr>
      <dsp:spPr>
        <a:xfrm>
          <a:off x="9630214" y="4179670"/>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9646310" y="4195766"/>
        <a:ext cx="792129" cy="517355"/>
      </dsp:txXfrm>
    </dsp:sp>
    <dsp:sp modelId="{F291E371-CD14-403D-A723-65A03D12A7FF}">
      <dsp:nvSpPr>
        <dsp:cNvPr id="0" name=""/>
        <dsp:cNvSpPr/>
      </dsp:nvSpPr>
      <dsp:spPr>
        <a:xfrm>
          <a:off x="9996654" y="4729218"/>
          <a:ext cx="91440" cy="219819"/>
        </a:xfrm>
        <a:custGeom>
          <a:avLst/>
          <a:gdLst/>
          <a:ahLst/>
          <a:cxnLst/>
          <a:rect l="0" t="0" r="0" b="0"/>
          <a:pathLst>
            <a:path>
              <a:moveTo>
                <a:pt x="45720" y="0"/>
              </a:moveTo>
              <a:lnTo>
                <a:pt x="45720" y="219819"/>
              </a:lnTo>
            </a:path>
          </a:pathLst>
        </a:custGeom>
        <a:noFill/>
        <a:ln w="25400" cap="flat" cmpd="sng" algn="ctr">
          <a:solidFill>
            <a:schemeClr val="bg1"/>
          </a:solidFill>
          <a:prstDash val="solid"/>
        </a:ln>
        <a:effectLst/>
      </dsp:spPr>
      <dsp:style>
        <a:lnRef idx="2">
          <a:scrgbClr r="0" g="0" b="0"/>
        </a:lnRef>
        <a:fillRef idx="0">
          <a:scrgbClr r="0" g="0" b="0"/>
        </a:fillRef>
        <a:effectRef idx="0">
          <a:scrgbClr r="0" g="0" b="0"/>
        </a:effectRef>
        <a:fontRef idx="minor"/>
      </dsp:style>
    </dsp:sp>
    <dsp:sp modelId="{393D0264-7D93-463D-91A9-934FC57FFF7F}">
      <dsp:nvSpPr>
        <dsp:cNvPr id="0" name=""/>
        <dsp:cNvSpPr/>
      </dsp:nvSpPr>
      <dsp:spPr>
        <a:xfrm>
          <a:off x="9630214" y="4949037"/>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9646310" y="4965133"/>
        <a:ext cx="792129" cy="517355"/>
      </dsp:txXfrm>
    </dsp:sp>
    <dsp:sp modelId="{0A2B502C-2983-4F3C-80EA-EFB6C1B8D582}">
      <dsp:nvSpPr>
        <dsp:cNvPr id="0" name=""/>
        <dsp:cNvSpPr/>
      </dsp:nvSpPr>
      <dsp:spPr>
        <a:xfrm>
          <a:off x="6827519" y="2421117"/>
          <a:ext cx="2143236" cy="219819"/>
        </a:xfrm>
        <a:custGeom>
          <a:avLst/>
          <a:gdLst/>
          <a:ahLst/>
          <a:cxnLst/>
          <a:rect l="0" t="0" r="0" b="0"/>
          <a:pathLst>
            <a:path>
              <a:moveTo>
                <a:pt x="0" y="0"/>
              </a:moveTo>
              <a:lnTo>
                <a:pt x="0" y="109909"/>
              </a:lnTo>
              <a:lnTo>
                <a:pt x="2143236" y="109909"/>
              </a:lnTo>
              <a:lnTo>
                <a:pt x="2143236" y="219819"/>
              </a:lnTo>
            </a:path>
          </a:pathLst>
        </a:custGeom>
        <a:noFill/>
        <a:ln w="25400" cap="flat" cmpd="sng" algn="ctr">
          <a:solidFill>
            <a:schemeClr val="tx2"/>
          </a:solidFill>
          <a:prstDash val="solid"/>
        </a:ln>
        <a:effectLst/>
      </dsp:spPr>
      <dsp:style>
        <a:lnRef idx="2">
          <a:scrgbClr r="0" g="0" b="0"/>
        </a:lnRef>
        <a:fillRef idx="0">
          <a:scrgbClr r="0" g="0" b="0"/>
        </a:fillRef>
        <a:effectRef idx="0">
          <a:scrgbClr r="0" g="0" b="0"/>
        </a:effectRef>
        <a:fontRef idx="minor"/>
      </dsp:style>
    </dsp:sp>
    <dsp:sp modelId="{00AB41C9-6D2A-4640-86FB-7C5B89DA0554}">
      <dsp:nvSpPr>
        <dsp:cNvPr id="0" name=""/>
        <dsp:cNvSpPr/>
      </dsp:nvSpPr>
      <dsp:spPr>
        <a:xfrm>
          <a:off x="8558595" y="2640936"/>
          <a:ext cx="824321" cy="549547"/>
        </a:xfrm>
        <a:prstGeom prst="roundRect">
          <a:avLst>
            <a:gd name="adj" fmla="val 10000"/>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8574691" y="2657032"/>
        <a:ext cx="792129" cy="51735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BAC268-89F7-48CC-AB0F-8F483A7C500A}">
      <dsp:nvSpPr>
        <dsp:cNvPr id="0" name=""/>
        <dsp:cNvSpPr/>
      </dsp:nvSpPr>
      <dsp:spPr>
        <a:xfrm>
          <a:off x="3512819" y="719616"/>
          <a:ext cx="7744968" cy="7744968"/>
        </a:xfrm>
        <a:prstGeom prst="pie">
          <a:avLst>
            <a:gd name="adj1" fmla="val 16200000"/>
            <a:gd name="adj2" fmla="val 5400000"/>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b="1" kern="1200" dirty="0"/>
            <a:t>Question Driven Conversations</a:t>
          </a:r>
        </a:p>
      </dsp:txBody>
      <dsp:txXfrm>
        <a:off x="7744891" y="2748060"/>
        <a:ext cx="2766060" cy="3688080"/>
      </dsp:txXfrm>
    </dsp:sp>
    <dsp:sp modelId="{1023F721-B617-48C7-BD24-DC596252B021}">
      <dsp:nvSpPr>
        <dsp:cNvPr id="0" name=""/>
        <dsp:cNvSpPr/>
      </dsp:nvSpPr>
      <dsp:spPr>
        <a:xfrm>
          <a:off x="3144011" y="719616"/>
          <a:ext cx="7744968" cy="7744968"/>
        </a:xfrm>
        <a:prstGeom prst="pie">
          <a:avLst>
            <a:gd name="adj1" fmla="val 5400000"/>
            <a:gd name="adj2" fmla="val 162000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t>Common Workplace Conversations and Communications:</a:t>
          </a:r>
        </a:p>
        <a:p>
          <a:pPr marL="0" lvl="0" indent="0" algn="ctr" defTabSz="1244600">
            <a:lnSpc>
              <a:spcPct val="90000"/>
            </a:lnSpc>
            <a:spcBef>
              <a:spcPct val="0"/>
            </a:spcBef>
            <a:spcAft>
              <a:spcPct val="35000"/>
            </a:spcAft>
            <a:buNone/>
          </a:pPr>
          <a:r>
            <a:rPr lang="en-US" sz="3600" b="1" kern="1200" dirty="0"/>
            <a:t>Tasks, Projects, Updates, etc.</a:t>
          </a:r>
        </a:p>
      </dsp:txBody>
      <dsp:txXfrm>
        <a:off x="3890848" y="2748060"/>
        <a:ext cx="2766060" cy="3688080"/>
      </dsp:txXfrm>
    </dsp:sp>
    <dsp:sp modelId="{6AC301A3-FA9A-4E5E-A9E0-C9A79A84738B}">
      <dsp:nvSpPr>
        <dsp:cNvPr id="0" name=""/>
        <dsp:cNvSpPr/>
      </dsp:nvSpPr>
      <dsp:spPr>
        <a:xfrm>
          <a:off x="3033369" y="240165"/>
          <a:ext cx="8703868" cy="8703868"/>
        </a:xfrm>
        <a:prstGeom prst="circularArrow">
          <a:avLst>
            <a:gd name="adj1" fmla="val 5085"/>
            <a:gd name="adj2" fmla="val 327528"/>
            <a:gd name="adj3" fmla="val 5072472"/>
            <a:gd name="adj4" fmla="val 16200000"/>
            <a:gd name="adj5" fmla="val 5932"/>
          </a:avLst>
        </a:prstGeom>
        <a:solidFill>
          <a:srgbClr val="92D050"/>
        </a:solidFill>
        <a:ln>
          <a:noFill/>
        </a:ln>
        <a:effectLst>
          <a:glow rad="139700">
            <a:schemeClr val="accent4">
              <a:satMod val="175000"/>
              <a:alpha val="40000"/>
            </a:schemeClr>
          </a:glow>
        </a:effectLst>
      </dsp:spPr>
      <dsp:style>
        <a:lnRef idx="0">
          <a:scrgbClr r="0" g="0" b="0"/>
        </a:lnRef>
        <a:fillRef idx="1">
          <a:scrgbClr r="0" g="0" b="0"/>
        </a:fillRef>
        <a:effectRef idx="0">
          <a:scrgbClr r="0" g="0" b="0"/>
        </a:effectRef>
        <a:fontRef idx="minor">
          <a:schemeClr val="lt1"/>
        </a:fontRef>
      </dsp:style>
    </dsp:sp>
    <dsp:sp modelId="{705E3B27-53FD-4278-A565-D1BD42107309}">
      <dsp:nvSpPr>
        <dsp:cNvPr id="0" name=""/>
        <dsp:cNvSpPr/>
      </dsp:nvSpPr>
      <dsp:spPr>
        <a:xfrm>
          <a:off x="2664561" y="240165"/>
          <a:ext cx="8703868" cy="8703868"/>
        </a:xfrm>
        <a:prstGeom prst="circularArrow">
          <a:avLst>
            <a:gd name="adj1" fmla="val 5085"/>
            <a:gd name="adj2" fmla="val 327528"/>
            <a:gd name="adj3" fmla="val 15872472"/>
            <a:gd name="adj4" fmla="val 5400000"/>
            <a:gd name="adj5" fmla="val 5932"/>
          </a:avLst>
        </a:prstGeom>
        <a:solidFill>
          <a:srgbClr val="92D050"/>
        </a:solidFill>
        <a:ln>
          <a:noFill/>
        </a:ln>
        <a:effectLst>
          <a:glow rad="139700">
            <a:schemeClr val="accent4">
              <a:satMod val="175000"/>
              <a:alpha val="40000"/>
            </a:schemeClr>
          </a:glow>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EF6BF-2E43-454B-A615-4F591E35E83C}">
      <dsp:nvSpPr>
        <dsp:cNvPr id="0" name=""/>
        <dsp:cNvSpPr/>
      </dsp:nvSpPr>
      <dsp:spPr>
        <a:xfrm>
          <a:off x="6" y="0"/>
          <a:ext cx="13004793" cy="5779910"/>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EF6BF-2E43-454B-A615-4F591E35E83C}">
      <dsp:nvSpPr>
        <dsp:cNvPr id="0" name=""/>
        <dsp:cNvSpPr/>
      </dsp:nvSpPr>
      <dsp:spPr>
        <a:xfrm>
          <a:off x="3" y="0"/>
          <a:ext cx="12750793" cy="5779910"/>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B79F50FE-2196-4A26-89A4-7FCD9103A3CA}" type="datetimeFigureOut">
              <a:rPr lang="en-US" smtClean="0"/>
              <a:pPr/>
              <a:t>6/20/2019</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r>
              <a:rPr lang="en-US"/>
              <a:t>©2015 Employee Performance Solutions, LLC  All Rights Reserved   </a:t>
            </a: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1440" tIns="45720" rIns="91440" bIns="45720" rtlCol="0" anchor="b"/>
          <a:lstStyle>
            <a:lvl1pPr algn="r">
              <a:defRPr sz="1200"/>
            </a:lvl1pPr>
          </a:lstStyle>
          <a:p>
            <a:fld id="{A279D598-0330-4E40-ACB9-3B462D79EE60}" type="slidenum">
              <a:rPr lang="en-US" smtClean="0"/>
              <a:pPr/>
              <a:t>‹#›</a:t>
            </a:fld>
            <a:endParaRPr lang="en-US"/>
          </a:p>
        </p:txBody>
      </p:sp>
    </p:spTree>
    <p:extLst>
      <p:ext uri="{BB962C8B-B14F-4D97-AF65-F5344CB8AC3E}">
        <p14:creationId xmlns:p14="http://schemas.microsoft.com/office/powerpoint/2010/main" val="1623058638"/>
      </p:ext>
    </p:extLst>
  </p:cSld>
  <p:clrMap bg1="lt1" tx1="dk1" bg2="lt2" tx2="dk2" accent1="accent1" accent2="accent2" accent3="accent3" accent4="accent4" accent5="accent5" accent6="accent6" hlink="hlink" folHlink="folHlink"/>
  <p:hf hdr="0" dt="0"/>
</p:handoutMaster>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1:41.869"/>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0 0,'0'0,"0"0,0 0,0 0,0 0,0 0,0 0,0 0,0 0,0 0,0 0,0 0,0 0,0 0,0 0,0 0,0 0</inkml:trace>
</inkml:ink>
</file>

<file path=ppt/ink/ink10.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7:23.995"/>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374 8627,'0'0,"0"0,0 0,0 0,0 0,0 0,0 0,0 0,0 0</inkml:trace>
  <inkml:trace contextRef="#ctx0" brushRef="#br0" timeOffset="15392">1 5972,'0'0,"0"0,0 0,0 0,0 2,0-2,0 0,0 0,0 0,0 0,0 0,0 0,0 0,0 0,0 1,0-1,-1 1,1-1,0 0,0 0,0 0</inkml:trace>
  <inkml:trace contextRef="#ctx0" brushRef="#br0" timeOffset="28278">2333 8819,'0'0,"0"0,0 0,0-1,0 0,0 1,0 0,0 0,0 0</inkml:trace>
  <inkml:trace contextRef="#ctx0" brushRef="#br0" timeOffset="31120">3565 459,'0'0,"0"0,0 0,0 0,0 0,0 0,0 1,0 1,0 2</inkml:trace>
  <inkml:trace contextRef="#ctx0" brushRef="#br0" timeOffset="40378">2858 5270,'0'0,"0"0,0 0,0 0,0 0,0 0,0 0,0 0,0 0,0 0,0 0,0 0,0 0</inkml:trace>
  <inkml:trace contextRef="#ctx0" brushRef="#br0" timeOffset="42548">3373 5375,'0'0,"0"0,0 0,0 0,0 0,0 0,0 0,0 0,0 0,0 0,0 0,0 0,0 0,0 0,0 0,0 0,0 0,0 0,0 0,0 0,0 0,0 0,0 0,0 0,0 0,0 0,0 0,0 0,0-1,0 1,0-1,0 1,0 0,0 0,0 0,0 0,0-1,0-1,0 2,0 0,0 0,1 0,-1 0,0 0,0 0,0 0,0 0,0 0,0 0,0 0,0 0,0 0,0 0,0 0,0 0,0 0,0 0,0 0,0 0,0 0,0 0,0 0,0 0</inkml:trace>
  <inkml:trace contextRef="#ctx0" brushRef="#br0" timeOffset="83931">5901 1478,'0'0,"0"1,0-1,0 0,0 0,0 0,0 0,0 0,0 0,0 0,0 1,0-1,-1 0,0 1,1-1,0 0,0 0</inkml:trace>
  <inkml:trace contextRef="#ctx0" brushRef="#br0" timeOffset="115039">10817 1,'0'0,"0"0,0 0,0 0,0 0,0 0,0 0,0 0,0 0,0 0,0 0,0 0,0-1,0 1,0 0,0 0</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7:23.995"/>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374 8627,'0'0,"0"0,0 0,0 0,0 0,0 0,0 0,0 0,0 0</inkml:trace>
  <inkml:trace contextRef="#ctx0" brushRef="#br0" timeOffset="15392">1 5972,'0'0,"0"0,0 0,0 0,0 2,0-2,0 0,0 0,0 0,0 0,0 0,0 0,0 0,0 0,0 1,0-1,-1 1,1-1,0 0,0 0,0 0</inkml:trace>
  <inkml:trace contextRef="#ctx0" brushRef="#br0" timeOffset="28278">2333 8819,'0'0,"0"0,0 0,0-1,0 0,0 1,0 0,0 0,0 0</inkml:trace>
  <inkml:trace contextRef="#ctx0" brushRef="#br0" timeOffset="31120">3565 459,'0'0,"0"0,0 0,0 0,0 0,0 0,0 1,0 1,0 2</inkml:trace>
  <inkml:trace contextRef="#ctx0" brushRef="#br0" timeOffset="40378">2858 5270,'0'0,"0"0,0 0,0 0,0 0,0 0,0 0,0 0,0 0,0 0,0 0,0 0,0 0</inkml:trace>
  <inkml:trace contextRef="#ctx0" brushRef="#br0" timeOffset="42548">3373 5375,'0'0,"0"0,0 0,0 0,0 0,0 0,0 0,0 0,0 0,0 0,0 0,0 0,0 0,0 0,0 0,0 0,0 0,0 0,0 0,0 0,0 0,0 0,0 0,0 0,0 0,0 0,0 0,0 0,0-1,0 1,0-1,0 1,0 0,0 0,0 0,0 0,0-1,0-1,0 2,0 0,0 0,1 0,-1 0,0 0,0 0,0 0,0 0,0 0,0 0,0 0,0 0,0 0,0 0,0 0,0 0,0 0,0 0,0 0,0 0,0 0,0 0,0 0,0 0</inkml:trace>
  <inkml:trace contextRef="#ctx0" brushRef="#br0" timeOffset="83931">5901 1478,'0'0,"0"1,0-1,0 0,0 0,0 0,0 0,0 0,0 0,0 0,0 1,0-1,-1 0,0 1,1-1,0 0,0 0</inkml:trace>
  <inkml:trace contextRef="#ctx0" brushRef="#br0" timeOffset="115039">10817 1,'0'0,"0"0,0 0,0 0,0 0,0 0,0 0,0 0,0 0,0 0,0 0,0 0,0-1,0 1,0 0,0 0</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1:41.869"/>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0 0,'0'0,"0"0,0 0,0 0,0 0,0 0,0 0,0 0,0 0,0 0,0 0,0 0,0 0,0 0,0 0,0 0,0 0</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7:13.710"/>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0 1,'0'-1,"0"1,0 0,0 0,0 0,0 0,0 0,0 0,0 0</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7:23.995"/>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374 8627,'0'0,"0"0,0 0,0 0,0 0,0 0,0 0,0 0,0 0</inkml:trace>
  <inkml:trace contextRef="#ctx0" brushRef="#br0" timeOffset="15392">1 5972,'0'0,"0"0,0 0,0 0,0 2,0-2,0 0,0 0,0 0,0 0,0 0,0 0,0 0,0 0,0 1,0-1,-1 1,1-1,0 0,0 0,0 0</inkml:trace>
  <inkml:trace contextRef="#ctx0" brushRef="#br0" timeOffset="28278">2333 8819,'0'0,"0"0,0 0,0-1,0 0,0 1,0 0,0 0,0 0</inkml:trace>
  <inkml:trace contextRef="#ctx0" brushRef="#br0" timeOffset="31120">3565 459,'0'0,"0"0,0 0,0 0,0 0,0 0,0 1,0 1,0 2</inkml:trace>
  <inkml:trace contextRef="#ctx0" brushRef="#br0" timeOffset="40378">2858 5270,'0'0,"0"0,0 0,0 0,0 0,0 0,0 0,0 0,0 0,0 0,0 0,0 0,0 0</inkml:trace>
  <inkml:trace contextRef="#ctx0" brushRef="#br0" timeOffset="42548">3373 5375,'0'0,"0"0,0 0,0 0,0 0,0 0,0 0,0 0,0 0,0 0,0 0,0 0,0 0,0 0,0 0,0 0,0 0,0 0,0 0,0 0,0 0,0 0,0 0,0 0,0 0,0 0,0 0,0 0,0-1,0 1,0-1,0 1,0 0,0 0,0 0,0 0,0-1,0-1,0 2,0 0,0 0,1 0,-1 0,0 0,0 0,0 0,0 0,0 0,0 0,0 0,0 0,0 0,0 0,0 0,0 0,0 0,0 0,0 0,0 0,0 0,0 0,0 0,0 0</inkml:trace>
  <inkml:trace contextRef="#ctx0" brushRef="#br0" timeOffset="83931">5901 1478,'0'0,"0"1,0-1,0 0,0 0,0 0,0 0,0 0,0 0,0 0,0 1,0-1,-1 0,0 1,1-1,0 0,0 0</inkml:trace>
  <inkml:trace contextRef="#ctx0" brushRef="#br0" timeOffset="115039">10817 1,'0'0,"0"0,0 0,0 0,0 0,0 0,0 0,0 0,0 0,0 0,0 0,0 0,0-1,0 1,0 0,0 0</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1:41.869"/>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0 0,'0'0,"0"0,0 0,0 0,0 0,0 0,0 0,0 0,0 0,0 0,0 0,0 0,0 0,0 0,0 0,0 0,0 0</inkml:trace>
</inkml:ink>
</file>

<file path=ppt/ink/ink7.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7:23.995"/>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374 8627,'0'0,"0"0,0 0,0 0,0 0,0 0,0 0,0 0,0 0</inkml:trace>
  <inkml:trace contextRef="#ctx0" brushRef="#br0" timeOffset="15392">1 5972,'0'0,"0"0,0 0,0 0,0 2,0-2,0 0,0 0,0 0,0 0,0 0,0 0,0 0,0 0,0 1,0-1,-1 1,1-1,0 0,0 0,0 0</inkml:trace>
  <inkml:trace contextRef="#ctx0" brushRef="#br0" timeOffset="28278">2333 8819,'0'0,"0"0,0 0,0-1,0 0,0 1,0 0,0 0,0 0</inkml:trace>
  <inkml:trace contextRef="#ctx0" brushRef="#br0" timeOffset="31120">3565 459,'0'0,"0"0,0 0,0 0,0 0,0 0,0 1,0 1,0 2</inkml:trace>
  <inkml:trace contextRef="#ctx0" brushRef="#br0" timeOffset="40378">2858 5270,'0'0,"0"0,0 0,0 0,0 0,0 0,0 0,0 0,0 0,0 0,0 0,0 0,0 0</inkml:trace>
  <inkml:trace contextRef="#ctx0" brushRef="#br0" timeOffset="42548">3373 5375,'0'0,"0"0,0 0,0 0,0 0,0 0,0 0,0 0,0 0,0 0,0 0,0 0,0 0,0 0,0 0,0 0,0 0,0 0,0 0,0 0,0 0,0 0,0 0,0 0,0 0,0 0,0 0,0 0,0-1,0 1,0-1,0 1,0 0,0 0,0 0,0 0,0-1,0-1,0 2,0 0,0 0,1 0,-1 0,0 0,0 0,0 0,0 0,0 0,0 0,0 0,0 0,0 0,0 0,0 0,0 0,0 0,0 0,0 0,0 0,0 0,0 0,0 0,0 0</inkml:trace>
  <inkml:trace contextRef="#ctx0" brushRef="#br0" timeOffset="83931">5901 1478,'0'0,"0"1,0-1,0 0,0 0,0 0,0 0,0 0,0 0,0 0,0 1,0-1,-1 0,0 1,1-1,0 0,0 0</inkml:trace>
  <inkml:trace contextRef="#ctx0" brushRef="#br0" timeOffset="115039">10817 1,'0'0,"0"0,0 0,0 0,0 0,0 0,0 0,0 0,0 0,0 0,0 0,0 0,0-1,0 1,0 0,0 0</inkml:trace>
</inkml:ink>
</file>

<file path=ppt/ink/ink8.xml><?xml version="1.0" encoding="utf-8"?>
<inkml:ink xmlns:inkml="http://www.w3.org/2003/InkML">
  <inkml:definitions>
    <inkml:context xml:id="ctx0">
      <inkml:inkSource xml:id="inkSrc0">
        <inkml:traceFormat>
          <inkml:channel name="X" type="integer" max="1920" units="cm"/>
          <inkml:channel name="Y" type="integer" max="1080" units="cm"/>
        </inkml:traceFormat>
        <inkml:channelProperties>
          <inkml:channelProperty channel="X" name="resolution" value="37.64706" units="1/cm"/>
          <inkml:channelProperty channel="Y" name="resolution" value="37.63066" units="1/cm"/>
        </inkml:channelProperties>
      </inkml:inkSource>
      <inkml:timestamp xml:id="ts0" timeString="2017-01-22T17:53:56.246"/>
    </inkml:context>
    <inkml:brush xml:id="br0">
      <inkml:brushProperty name="width" value="0.03528" units="cm"/>
      <inkml:brushProperty name="height" value="0.03528" units="cm"/>
      <inkml:brushProperty name="fitToCurve" value="1"/>
      <inkml:brushProperty name="ignorePressure" value="1"/>
    </inkml:brush>
  </inkml:definitions>
  <inkml:trace contextRef="#ctx0" brushRef="#br0">0 0</inkml:trace>
</inkml:ink>
</file>

<file path=ppt/ink/ink9.xml><?xml version="1.0" encoding="utf-8"?>
<inkml:ink xmlns:inkml="http://www.w3.org/2003/InkML">
  <inkml:definitions>
    <inkml:context xml:id="ctx0">
      <inkml:inkSource xml:id="inkSrc0">
        <inkml:traceFormat>
          <inkml:channel name="X" type="integer" max="32767" units="cm"/>
          <inkml:channel name="Y" type="integer" max="32767" units="cm"/>
        </inkml:traceFormat>
        <inkml:channelProperties>
          <inkml:channelProperty channel="X" name="resolution" value="645.01971" units="1/cm"/>
          <inkml:channelProperty channel="Y" name="resolution" value="1148.51038" units="1/cm"/>
        </inkml:channelProperties>
      </inkml:inkSource>
      <inkml:timestamp xml:id="ts0" timeString="2017-01-03T20:51:41.869"/>
    </inkml:context>
    <inkml:brush xml:id="br0">
      <inkml:brushProperty name="width" value="0.05292" units="cm"/>
      <inkml:brushProperty name="height" value="0.05292" units="cm"/>
      <inkml:brushProperty name="color" value="#FF0000"/>
      <inkml:brushProperty name="fitToCurve" value="1"/>
    </inkml:brush>
  </inkml:definitions>
  <inkml:trace contextRef="#ctx0" brushRef="#br0">0 0,'0'0,"0"0,0 0,0 0,0 0,0 0,0 0,0 0,0 0,0 0,0 0,0 0,0 0,0 0,0 0,0 0,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E2612C68-9BBB-4DBC-9181-9863A64FD60C}" type="datetimeFigureOut">
              <a:rPr lang="en-US" smtClean="0"/>
              <a:pPr/>
              <a:t>6/20/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r>
              <a:rPr lang="en-US"/>
              <a:t>©2015 Employee Performance Solutions, LLC  All Rights Reserved   </a:t>
            </a:r>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9A4936C3-8A0C-4A9E-AF9C-27243E0FB081}" type="slidenum">
              <a:rPr lang="en-US" smtClean="0"/>
              <a:pPr/>
              <a:t>‹#›</a:t>
            </a:fld>
            <a:endParaRPr lang="en-US"/>
          </a:p>
        </p:txBody>
      </p:sp>
    </p:spTree>
    <p:extLst>
      <p:ext uri="{BB962C8B-B14F-4D97-AF65-F5344CB8AC3E}">
        <p14:creationId xmlns:p14="http://schemas.microsoft.com/office/powerpoint/2010/main" val="1393511114"/>
      </p:ext>
    </p:extLst>
  </p:cSld>
  <p:clrMap bg1="lt1" tx1="dk1" bg2="lt2" tx2="dk2" accent1="accent1" accent2="accent2" accent3="accent3" accent4="accent4" accent5="accent5" accent6="accent6" hlink="hlink" folHlink="folHlink"/>
  <p:hf hdr="0" dt="0"/>
  <p:notesStyle>
    <a:lvl1pPr marL="0" algn="l" defTabSz="910276" rtl="0" eaLnBrk="1" latinLnBrk="0" hangingPunct="1">
      <a:defRPr sz="1100" kern="1200">
        <a:solidFill>
          <a:schemeClr val="tx1"/>
        </a:solidFill>
        <a:latin typeface="+mn-lt"/>
        <a:ea typeface="+mn-ea"/>
        <a:cs typeface="+mn-cs"/>
      </a:defRPr>
    </a:lvl1pPr>
    <a:lvl2pPr marL="455125" algn="l" defTabSz="910276" rtl="0" eaLnBrk="1" latinLnBrk="0" hangingPunct="1">
      <a:defRPr sz="1100" kern="1200">
        <a:solidFill>
          <a:schemeClr val="tx1"/>
        </a:solidFill>
        <a:latin typeface="+mn-lt"/>
        <a:ea typeface="+mn-ea"/>
        <a:cs typeface="+mn-cs"/>
      </a:defRPr>
    </a:lvl2pPr>
    <a:lvl3pPr marL="910276" algn="l" defTabSz="910276" rtl="0" eaLnBrk="1" latinLnBrk="0" hangingPunct="1">
      <a:defRPr sz="1100" kern="1200">
        <a:solidFill>
          <a:schemeClr val="tx1"/>
        </a:solidFill>
        <a:latin typeface="+mn-lt"/>
        <a:ea typeface="+mn-ea"/>
        <a:cs typeface="+mn-cs"/>
      </a:defRPr>
    </a:lvl3pPr>
    <a:lvl4pPr marL="1365440" algn="l" defTabSz="910276" rtl="0" eaLnBrk="1" latinLnBrk="0" hangingPunct="1">
      <a:defRPr sz="1100" kern="1200">
        <a:solidFill>
          <a:schemeClr val="tx1"/>
        </a:solidFill>
        <a:latin typeface="+mn-lt"/>
        <a:ea typeface="+mn-ea"/>
        <a:cs typeface="+mn-cs"/>
      </a:defRPr>
    </a:lvl4pPr>
    <a:lvl5pPr marL="1820568" algn="l" defTabSz="910276" rtl="0" eaLnBrk="1" latinLnBrk="0" hangingPunct="1">
      <a:defRPr sz="1100" kern="1200">
        <a:solidFill>
          <a:schemeClr val="tx1"/>
        </a:solidFill>
        <a:latin typeface="+mn-lt"/>
        <a:ea typeface="+mn-ea"/>
        <a:cs typeface="+mn-cs"/>
      </a:defRPr>
    </a:lvl5pPr>
    <a:lvl6pPr marL="2275730" algn="l" defTabSz="910276" rtl="0" eaLnBrk="1" latinLnBrk="0" hangingPunct="1">
      <a:defRPr sz="1100" kern="1200">
        <a:solidFill>
          <a:schemeClr val="tx1"/>
        </a:solidFill>
        <a:latin typeface="+mn-lt"/>
        <a:ea typeface="+mn-ea"/>
        <a:cs typeface="+mn-cs"/>
      </a:defRPr>
    </a:lvl6pPr>
    <a:lvl7pPr marL="2730859" algn="l" defTabSz="910276" rtl="0" eaLnBrk="1" latinLnBrk="0" hangingPunct="1">
      <a:defRPr sz="1100" kern="1200">
        <a:solidFill>
          <a:schemeClr val="tx1"/>
        </a:solidFill>
        <a:latin typeface="+mn-lt"/>
        <a:ea typeface="+mn-ea"/>
        <a:cs typeface="+mn-cs"/>
      </a:defRPr>
    </a:lvl7pPr>
    <a:lvl8pPr marL="3186012" algn="l" defTabSz="910276" rtl="0" eaLnBrk="1" latinLnBrk="0" hangingPunct="1">
      <a:defRPr sz="1100" kern="1200">
        <a:solidFill>
          <a:schemeClr val="tx1"/>
        </a:solidFill>
        <a:latin typeface="+mn-lt"/>
        <a:ea typeface="+mn-ea"/>
        <a:cs typeface="+mn-cs"/>
      </a:defRPr>
    </a:lvl8pPr>
    <a:lvl9pPr marL="3641166" algn="l" defTabSz="91027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Facilitated Activity</a:t>
            </a:r>
            <a:endParaRPr lang="en-US" dirty="0">
              <a:solidFill>
                <a:srgbClr val="FF0000"/>
              </a:solidFill>
            </a:endParaRPr>
          </a:p>
          <a:p>
            <a:r>
              <a:rPr lang="en-US" b="1" dirty="0">
                <a:solidFill>
                  <a:srgbClr val="FF0000"/>
                </a:solidFill>
              </a:rPr>
              <a:t>Debrief:  </a:t>
            </a:r>
            <a:r>
              <a:rPr lang="en-US" dirty="0">
                <a:solidFill>
                  <a:srgbClr val="FF0000"/>
                </a:solidFill>
              </a:rPr>
              <a:t>Have participants share their examples at the table.  Optional:  participants share the positive insight example with the individual it was written for (if that person is in the room).   </a:t>
            </a:r>
          </a:p>
          <a:p>
            <a:endParaRPr lang="en-US" dirty="0">
              <a:solidFill>
                <a:srgbClr val="FF0000"/>
              </a:solidFill>
            </a:endParaRPr>
          </a:p>
          <a:p>
            <a:r>
              <a:rPr lang="en-US" dirty="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8</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
        <p:nvSpPr>
          <p:cNvPr id="7" name="Oval 6"/>
          <p:cNvSpPr/>
          <p:nvPr/>
        </p:nvSpPr>
        <p:spPr>
          <a:xfrm>
            <a:off x="1295400" y="762000"/>
            <a:ext cx="1066800"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extLst>
      <p:ext uri="{BB962C8B-B14F-4D97-AF65-F5344CB8AC3E}">
        <p14:creationId xmlns:p14="http://schemas.microsoft.com/office/powerpoint/2010/main" val="1716332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33</a:t>
            </a:fld>
            <a:endParaRPr lang="en-US" altLang="en-US" sz="80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r>
              <a:rPr lang="en-US" dirty="0"/>
              <a:t>Aside from asking clarifying questions when receiving general positive feedback, we can ask questions at our own pace and timing.  </a:t>
            </a:r>
          </a:p>
          <a:p>
            <a:r>
              <a:rPr lang="en-US" dirty="0"/>
              <a:t> </a:t>
            </a:r>
          </a:p>
          <a:p>
            <a:r>
              <a:rPr lang="en-US" dirty="0"/>
              <a:t>First, the questions we ask must be worded in a way that will generate a specific answer.  </a:t>
            </a:r>
          </a:p>
          <a:p>
            <a:endParaRPr lang="en-US" dirty="0"/>
          </a:p>
          <a:p>
            <a:endParaRPr lang="en-US" dirty="0"/>
          </a:p>
          <a:p>
            <a:r>
              <a:rPr lang="en-US" dirty="0"/>
              <a:t> </a:t>
            </a:r>
          </a:p>
          <a:p>
            <a:r>
              <a:rPr lang="en-US" dirty="0"/>
              <a:t> </a:t>
            </a:r>
          </a:p>
          <a:p>
            <a:r>
              <a:rPr lang="en-US" dirty="0"/>
              <a:t>Use the following slides to let participants experience typical answers when questions are asked in a general fashion.</a:t>
            </a:r>
          </a:p>
          <a:p>
            <a:r>
              <a:rPr lang="en-US" dirty="0"/>
              <a:t> </a:t>
            </a:r>
          </a:p>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507715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ay, “These questions are too general and are a huge waste of time.  Nothing goes in and nothing comes out.”</a:t>
            </a:r>
          </a:p>
          <a:p>
            <a:r>
              <a:rPr lang="en-US" dirty="0"/>
              <a:t> </a:t>
            </a:r>
          </a:p>
          <a:p>
            <a:r>
              <a:rPr lang="en-US" b="1" dirty="0">
                <a:solidFill>
                  <a:srgbClr val="F95602"/>
                </a:solidFill>
              </a:rPr>
              <a:t>this is an animated slide</a:t>
            </a:r>
            <a:endParaRPr lang="en-US" dirty="0"/>
          </a:p>
          <a:p>
            <a:r>
              <a:rPr lang="en-US" dirty="0"/>
              <a:t> </a:t>
            </a:r>
          </a:p>
          <a:p>
            <a:r>
              <a:rPr lang="en-US" dirty="0"/>
              <a:t> </a:t>
            </a:r>
          </a:p>
          <a:p>
            <a:r>
              <a:rPr lang="en-US" dirty="0"/>
              <a:t> </a:t>
            </a:r>
          </a:p>
          <a:p>
            <a:r>
              <a:rPr lang="en-US" dirty="0"/>
              <a:t> </a:t>
            </a:r>
          </a:p>
          <a:p>
            <a:r>
              <a:rPr lang="en-US" dirty="0"/>
              <a:t> </a:t>
            </a:r>
          </a:p>
          <a:p>
            <a:r>
              <a:rPr lang="en-US" dirty="0"/>
              <a:t> </a:t>
            </a:r>
          </a:p>
          <a:p>
            <a:r>
              <a:rPr lang="en-US" dirty="0"/>
              <a:t> </a:t>
            </a:r>
          </a:p>
          <a:p>
            <a:r>
              <a:rPr lang="en-US" dirty="0"/>
              <a:t> </a:t>
            </a:r>
          </a:p>
          <a:p>
            <a:r>
              <a:rPr lang="en-US" dirty="0"/>
              <a:t> </a:t>
            </a:r>
          </a:p>
          <a:p>
            <a:r>
              <a:rPr lang="en-US" dirty="0"/>
              <a:t> </a:t>
            </a:r>
          </a:p>
          <a:p>
            <a:r>
              <a:rPr lang="en-US" dirty="0"/>
              <a:t> </a:t>
            </a:r>
          </a:p>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47</a:t>
            </a:fld>
            <a:endParaRPr lang="en-US"/>
          </a:p>
        </p:txBody>
      </p:sp>
    </p:spTree>
    <p:extLst>
      <p:ext uri="{BB962C8B-B14F-4D97-AF65-F5344CB8AC3E}">
        <p14:creationId xmlns:p14="http://schemas.microsoft.com/office/powerpoint/2010/main" val="1164609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one thing question gets the wheels turning, you can even see people look up or away as their cognitive process goes into action and works to retrieve something specific.”</a:t>
            </a:r>
          </a:p>
          <a:p>
            <a:r>
              <a:rPr lang="en-US" dirty="0"/>
              <a:t> </a:t>
            </a:r>
          </a:p>
          <a:p>
            <a:r>
              <a:rPr lang="en-US" dirty="0"/>
              <a:t>The key takeaway of </a:t>
            </a:r>
            <a:r>
              <a:rPr lang="en-US" i="1" dirty="0"/>
              <a:t>The One Thing</a:t>
            </a:r>
            <a:r>
              <a:rPr lang="en-US" dirty="0"/>
              <a:t> is to find what it is that you are doing well, should keep doing and could do to become even more effective in your role.  </a:t>
            </a:r>
          </a:p>
          <a:p>
            <a:r>
              <a:rPr lang="en-US" dirty="0"/>
              <a:t> </a:t>
            </a:r>
          </a:p>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48</a:t>
            </a:fld>
            <a:endParaRPr lang="en-US"/>
          </a:p>
        </p:txBody>
      </p:sp>
    </p:spTree>
    <p:extLst>
      <p:ext uri="{BB962C8B-B14F-4D97-AF65-F5344CB8AC3E}">
        <p14:creationId xmlns:p14="http://schemas.microsoft.com/office/powerpoint/2010/main" val="1866333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JAMIE</a:t>
            </a:r>
          </a:p>
          <a:p>
            <a:endParaRPr lang="en-US" dirty="0"/>
          </a:p>
        </p:txBody>
      </p:sp>
      <p:sp>
        <p:nvSpPr>
          <p:cNvPr id="4" name="Slide Number Placeholder 3"/>
          <p:cNvSpPr>
            <a:spLocks noGrp="1"/>
          </p:cNvSpPr>
          <p:nvPr>
            <p:ph type="sldNum" sz="quarter" idx="10"/>
          </p:nvPr>
        </p:nvSpPr>
        <p:spPr/>
        <p:txBody>
          <a:bodyPr/>
          <a:lstStyle/>
          <a:p>
            <a:fld id="{FFB66215-7702-4AA4-B28B-1244698E22F9}" type="slidenum">
              <a:rPr lang="en-US" smtClean="0"/>
              <a:pPr/>
              <a:t>49</a:t>
            </a:fld>
            <a:endParaRPr lang="en-US"/>
          </a:p>
        </p:txBody>
      </p:sp>
    </p:spTree>
    <p:extLst>
      <p:ext uri="{BB962C8B-B14F-4D97-AF65-F5344CB8AC3E}">
        <p14:creationId xmlns:p14="http://schemas.microsoft.com/office/powerpoint/2010/main" val="1423687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solidFill>
                  <a:srgbClr val="FF0000"/>
                </a:solidFill>
              </a:rPr>
              <a:t>Facilitated Activity</a:t>
            </a:r>
            <a:endParaRPr lang="en-US" dirty="0"/>
          </a:p>
          <a:p>
            <a:r>
              <a:rPr lang="en-US" dirty="0">
                <a:solidFill>
                  <a:srgbClr val="FF0000"/>
                </a:solidFill>
              </a:rPr>
              <a:t>Ask participants to  generate ideas for their own questions and who they would ask (see instructions on page 6 or the one Thing Questions handout).</a:t>
            </a:r>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50</a:t>
            </a:fld>
            <a:endParaRPr lang="en-US"/>
          </a:p>
        </p:txBody>
      </p:sp>
      <p:sp>
        <p:nvSpPr>
          <p:cNvPr id="7" name="Oval 6"/>
          <p:cNvSpPr/>
          <p:nvPr/>
        </p:nvSpPr>
        <p:spPr>
          <a:xfrm>
            <a:off x="1219200" y="762000"/>
            <a:ext cx="1066800"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Facilitated Activity</a:t>
            </a:r>
            <a:endParaRPr lang="en-US" dirty="0">
              <a:solidFill>
                <a:srgbClr val="FF0000"/>
              </a:solidFill>
            </a:endParaRPr>
          </a:p>
          <a:p>
            <a:r>
              <a:rPr lang="en-US" b="1" dirty="0">
                <a:solidFill>
                  <a:srgbClr val="FF0000"/>
                </a:solidFill>
              </a:rPr>
              <a:t>Debrief:  </a:t>
            </a:r>
            <a:r>
              <a:rPr lang="en-US" dirty="0">
                <a:solidFill>
                  <a:srgbClr val="FF0000"/>
                </a:solidFill>
              </a:rPr>
              <a:t>Have participants share their examples at the table.  Optional:  participants share the positive insight example with the individual it was written for (if that person is in the room).   </a:t>
            </a:r>
          </a:p>
          <a:p>
            <a:endParaRPr lang="en-US" dirty="0">
              <a:solidFill>
                <a:srgbClr val="FF0000"/>
              </a:solidFill>
            </a:endParaRPr>
          </a:p>
          <a:p>
            <a:r>
              <a:rPr lang="en-US" dirty="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1</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
        <p:nvSpPr>
          <p:cNvPr id="7" name="Oval 6"/>
          <p:cNvSpPr/>
          <p:nvPr/>
        </p:nvSpPr>
        <p:spPr>
          <a:xfrm>
            <a:off x="1295400" y="762000"/>
            <a:ext cx="1066800"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extLst>
      <p:ext uri="{BB962C8B-B14F-4D97-AF65-F5344CB8AC3E}">
        <p14:creationId xmlns:p14="http://schemas.microsoft.com/office/powerpoint/2010/main" val="843599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54</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Tree>
    <p:extLst>
      <p:ext uri="{BB962C8B-B14F-4D97-AF65-F5344CB8AC3E}">
        <p14:creationId xmlns:p14="http://schemas.microsoft.com/office/powerpoint/2010/main" val="2128259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95400" y="4343400"/>
            <a:ext cx="4724400" cy="1301496"/>
          </a:xfrm>
        </p:spPr>
        <p:txBody>
          <a:bodyPr/>
          <a:lstStyle/>
          <a:p>
            <a:r>
              <a:rPr lang="en-US" dirty="0"/>
              <a:t>Walk through the 3 “bubbles” sets of questions. </a:t>
            </a:r>
          </a:p>
          <a:p>
            <a:endParaRPr lang="en-US" dirty="0"/>
          </a:p>
          <a:p>
            <a:r>
              <a:rPr lang="en-US" b="1" dirty="0">
                <a:solidFill>
                  <a:srgbClr val="F95602"/>
                </a:solidFill>
              </a:rPr>
              <a:t>Animated Slide</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5</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pic>
        <p:nvPicPr>
          <p:cNvPr id="629762" name="Picture 2"/>
          <p:cNvPicPr>
            <a:picLocks noChangeAspect="1" noChangeArrowheads="1"/>
          </p:cNvPicPr>
          <p:nvPr/>
        </p:nvPicPr>
        <p:blipFill>
          <a:blip r:embed="rId3"/>
          <a:srcRect/>
          <a:stretch>
            <a:fillRect/>
          </a:stretch>
        </p:blipFill>
        <p:spPr bwMode="auto">
          <a:xfrm>
            <a:off x="1524000" y="5105400"/>
            <a:ext cx="3819525" cy="2676525"/>
          </a:xfrm>
          <a:prstGeom prst="rect">
            <a:avLst/>
          </a:prstGeom>
          <a:noFill/>
          <a:ln w="9525">
            <a:noFill/>
            <a:miter lim="800000"/>
            <a:headEnd/>
            <a:tailEnd/>
          </a:ln>
        </p:spPr>
      </p:pic>
    </p:spTree>
    <p:extLst>
      <p:ext uri="{BB962C8B-B14F-4D97-AF65-F5344CB8AC3E}">
        <p14:creationId xmlns:p14="http://schemas.microsoft.com/office/powerpoint/2010/main" val="3541358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95400" y="4343400"/>
            <a:ext cx="4724400" cy="1301496"/>
          </a:xfrm>
        </p:spPr>
        <p:txBody>
          <a:bodyPr/>
          <a:lstStyle/>
          <a:p>
            <a:r>
              <a:rPr lang="en-US" dirty="0"/>
              <a:t>Walk through the 3 “bubbles” sets of questions. </a:t>
            </a:r>
          </a:p>
          <a:p>
            <a:endParaRPr lang="en-US" dirty="0"/>
          </a:p>
          <a:p>
            <a:r>
              <a:rPr lang="en-US" b="1" dirty="0">
                <a:solidFill>
                  <a:srgbClr val="F95602"/>
                </a:solidFill>
              </a:rPr>
              <a:t>Animated Slide</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6</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pic>
        <p:nvPicPr>
          <p:cNvPr id="629762" name="Picture 2"/>
          <p:cNvPicPr>
            <a:picLocks noChangeAspect="1" noChangeArrowheads="1"/>
          </p:cNvPicPr>
          <p:nvPr/>
        </p:nvPicPr>
        <p:blipFill>
          <a:blip r:embed="rId3"/>
          <a:srcRect/>
          <a:stretch>
            <a:fillRect/>
          </a:stretch>
        </p:blipFill>
        <p:spPr bwMode="auto">
          <a:xfrm>
            <a:off x="1524000" y="5105400"/>
            <a:ext cx="3819525" cy="2676525"/>
          </a:xfrm>
          <a:prstGeom prst="rect">
            <a:avLst/>
          </a:prstGeom>
          <a:noFill/>
          <a:ln w="9525">
            <a:noFill/>
            <a:miter lim="800000"/>
            <a:headEnd/>
            <a:tailEnd/>
          </a:ln>
        </p:spPr>
      </p:pic>
    </p:spTree>
    <p:extLst>
      <p:ext uri="{BB962C8B-B14F-4D97-AF65-F5344CB8AC3E}">
        <p14:creationId xmlns:p14="http://schemas.microsoft.com/office/powerpoint/2010/main" val="650899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7</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19</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1048124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Facilitated Activity</a:t>
            </a:r>
            <a:endParaRPr lang="en-US" dirty="0">
              <a:solidFill>
                <a:srgbClr val="FF0000"/>
              </a:solidFill>
            </a:endParaRPr>
          </a:p>
          <a:p>
            <a:r>
              <a:rPr lang="en-US" b="1" dirty="0">
                <a:solidFill>
                  <a:srgbClr val="FF0000"/>
                </a:solidFill>
              </a:rPr>
              <a:t>Debrief:  </a:t>
            </a:r>
            <a:r>
              <a:rPr lang="en-US" dirty="0">
                <a:solidFill>
                  <a:srgbClr val="FF0000"/>
                </a:solidFill>
              </a:rPr>
              <a:t>Have participants share their examples at the table.  Optional:  participants share the positive insight example with the individual it was written for (if that person is in the room).   </a:t>
            </a:r>
          </a:p>
          <a:p>
            <a:endParaRPr lang="en-US" dirty="0">
              <a:solidFill>
                <a:srgbClr val="FF0000"/>
              </a:solidFill>
            </a:endParaRPr>
          </a:p>
          <a:p>
            <a:r>
              <a:rPr lang="en-US" dirty="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8</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
        <p:nvSpPr>
          <p:cNvPr id="7" name="Oval 6"/>
          <p:cNvSpPr/>
          <p:nvPr/>
        </p:nvSpPr>
        <p:spPr>
          <a:xfrm>
            <a:off x="1295400" y="762000"/>
            <a:ext cx="1066800"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extLst>
      <p:ext uri="{BB962C8B-B14F-4D97-AF65-F5344CB8AC3E}">
        <p14:creationId xmlns:p14="http://schemas.microsoft.com/office/powerpoint/2010/main" val="4177234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performance </a:t>
            </a:r>
            <a:r>
              <a:rPr lang="en-US" dirty="0" err="1"/>
              <a:t>managmeent</a:t>
            </a:r>
            <a:r>
              <a:rPr lang="en-US" dirty="0"/>
              <a:t>  practices focus on forms and process with little time and attention going towards the conversation</a:t>
            </a:r>
          </a:p>
        </p:txBody>
      </p:sp>
      <p:sp>
        <p:nvSpPr>
          <p:cNvPr id="4" name="Slide Number Placeholder 3"/>
          <p:cNvSpPr>
            <a:spLocks noGrp="1"/>
          </p:cNvSpPr>
          <p:nvPr>
            <p:ph type="sldNum" sz="quarter" idx="10"/>
          </p:nvPr>
        </p:nvSpPr>
        <p:spPr/>
        <p:txBody>
          <a:bodyPr/>
          <a:lstStyle/>
          <a:p>
            <a:fld id="{9A4936C3-8A0C-4A9E-AF9C-27243E0FB081}" type="slidenum">
              <a:rPr lang="en-US" smtClean="0"/>
              <a:pPr/>
              <a:t>63</a:t>
            </a:fld>
            <a:endParaRPr lang="en-US"/>
          </a:p>
        </p:txBody>
      </p:sp>
    </p:spTree>
    <p:extLst>
      <p:ext uri="{BB962C8B-B14F-4D97-AF65-F5344CB8AC3E}">
        <p14:creationId xmlns:p14="http://schemas.microsoft.com/office/powerpoint/2010/main" val="635095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performance </a:t>
            </a:r>
            <a:r>
              <a:rPr lang="en-US" dirty="0" err="1"/>
              <a:t>managmeent</a:t>
            </a:r>
            <a:r>
              <a:rPr lang="en-US" dirty="0"/>
              <a:t>  practices focus on forms and process with little time and attention going towards the conversation</a:t>
            </a:r>
          </a:p>
        </p:txBody>
      </p:sp>
      <p:sp>
        <p:nvSpPr>
          <p:cNvPr id="4" name="Slide Number Placeholder 3"/>
          <p:cNvSpPr>
            <a:spLocks noGrp="1"/>
          </p:cNvSpPr>
          <p:nvPr>
            <p:ph type="sldNum" sz="quarter" idx="10"/>
          </p:nvPr>
        </p:nvSpPr>
        <p:spPr/>
        <p:txBody>
          <a:bodyPr/>
          <a:lstStyle/>
          <a:p>
            <a:fld id="{9A4936C3-8A0C-4A9E-AF9C-27243E0FB081}" type="slidenum">
              <a:rPr lang="en-US" smtClean="0"/>
              <a:pPr/>
              <a:t>64</a:t>
            </a:fld>
            <a:endParaRPr lang="en-US"/>
          </a:p>
        </p:txBody>
      </p:sp>
    </p:spTree>
    <p:extLst>
      <p:ext uri="{BB962C8B-B14F-4D97-AF65-F5344CB8AC3E}">
        <p14:creationId xmlns:p14="http://schemas.microsoft.com/office/powerpoint/2010/main" val="4099438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performance </a:t>
            </a:r>
            <a:r>
              <a:rPr lang="en-US" dirty="0" err="1"/>
              <a:t>managmeent</a:t>
            </a:r>
            <a:r>
              <a:rPr lang="en-US" dirty="0"/>
              <a:t>  practices focus on forms and process with little time and attention going towards the conversation</a:t>
            </a:r>
          </a:p>
        </p:txBody>
      </p:sp>
      <p:sp>
        <p:nvSpPr>
          <p:cNvPr id="4" name="Slide Number Placeholder 3"/>
          <p:cNvSpPr>
            <a:spLocks noGrp="1"/>
          </p:cNvSpPr>
          <p:nvPr>
            <p:ph type="sldNum" sz="quarter" idx="10"/>
          </p:nvPr>
        </p:nvSpPr>
        <p:spPr/>
        <p:txBody>
          <a:bodyPr/>
          <a:lstStyle/>
          <a:p>
            <a:fld id="{9A4936C3-8A0C-4A9E-AF9C-27243E0FB081}" type="slidenum">
              <a:rPr lang="en-US" smtClean="0"/>
              <a:pPr/>
              <a:t>65</a:t>
            </a:fld>
            <a:endParaRPr lang="en-US"/>
          </a:p>
        </p:txBody>
      </p:sp>
    </p:spTree>
    <p:extLst>
      <p:ext uri="{BB962C8B-B14F-4D97-AF65-F5344CB8AC3E}">
        <p14:creationId xmlns:p14="http://schemas.microsoft.com/office/powerpoint/2010/main" val="10367003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performance </a:t>
            </a:r>
            <a:r>
              <a:rPr lang="en-US" dirty="0" err="1"/>
              <a:t>managmeent</a:t>
            </a:r>
            <a:r>
              <a:rPr lang="en-US" dirty="0"/>
              <a:t>  practices focus on forms and process with little time and attention going towards the conversation</a:t>
            </a:r>
          </a:p>
        </p:txBody>
      </p:sp>
      <p:sp>
        <p:nvSpPr>
          <p:cNvPr id="4" name="Slide Number Placeholder 3"/>
          <p:cNvSpPr>
            <a:spLocks noGrp="1"/>
          </p:cNvSpPr>
          <p:nvPr>
            <p:ph type="sldNum" sz="quarter" idx="10"/>
          </p:nvPr>
        </p:nvSpPr>
        <p:spPr/>
        <p:txBody>
          <a:bodyPr/>
          <a:lstStyle/>
          <a:p>
            <a:fld id="{9A4936C3-8A0C-4A9E-AF9C-27243E0FB081}" type="slidenum">
              <a:rPr lang="en-US" smtClean="0"/>
              <a:pPr/>
              <a:t>66</a:t>
            </a:fld>
            <a:endParaRPr lang="en-US"/>
          </a:p>
        </p:txBody>
      </p:sp>
    </p:spTree>
    <p:extLst>
      <p:ext uri="{BB962C8B-B14F-4D97-AF65-F5344CB8AC3E}">
        <p14:creationId xmlns:p14="http://schemas.microsoft.com/office/powerpoint/2010/main" val="16921845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9A4936C3-8A0C-4A9E-AF9C-27243E0FB081}" type="slidenum">
              <a:rPr lang="en-US" smtClean="0"/>
              <a:pPr/>
              <a:t>76</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
        <p:nvSpPr>
          <p:cNvPr id="6" name="Notes Placeholder 5"/>
          <p:cNvSpPr>
            <a:spLocks noGrp="1"/>
          </p:cNvSpPr>
          <p:nvPr>
            <p:ph type="body" sz="quarter" idx="12"/>
          </p:nvPr>
        </p:nvSpPr>
        <p:spPr/>
        <p:txBody>
          <a:bodyPr>
            <a:normAutofit/>
          </a:bodyPr>
          <a:lstStyle/>
          <a:p>
            <a:endParaRPr lang="en-US"/>
          </a:p>
        </p:txBody>
      </p:sp>
    </p:spTree>
    <p:extLst>
      <p:ext uri="{BB962C8B-B14F-4D97-AF65-F5344CB8AC3E}">
        <p14:creationId xmlns:p14="http://schemas.microsoft.com/office/powerpoint/2010/main" val="35413589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78</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79</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43599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80</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435998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81</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43599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0</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10481244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82</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435998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83</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843599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1</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962861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ach for Growth, Skills, Behavior, Up, or in circumstances where all else has failed, out of the organization.</a:t>
            </a:r>
          </a:p>
        </p:txBody>
      </p:sp>
      <p:sp>
        <p:nvSpPr>
          <p:cNvPr id="4" name="Slide Number Placeholder 3"/>
          <p:cNvSpPr>
            <a:spLocks noGrp="1"/>
          </p:cNvSpPr>
          <p:nvPr>
            <p:ph type="sldNum" sz="quarter" idx="5"/>
          </p:nvPr>
        </p:nvSpPr>
        <p:spPr/>
        <p:txBody>
          <a:bodyPr/>
          <a:lstStyle/>
          <a:p>
            <a:fld id="{DEFC88B8-755F-47DD-98A4-02C522A546F9}" type="slidenum">
              <a:rPr lang="en-US" smtClean="0"/>
              <a:t>22</a:t>
            </a:fld>
            <a:endParaRPr lang="en-US"/>
          </a:p>
        </p:txBody>
      </p:sp>
    </p:spTree>
    <p:extLst>
      <p:ext uri="{BB962C8B-B14F-4D97-AF65-F5344CB8AC3E}">
        <p14:creationId xmlns:p14="http://schemas.microsoft.com/office/powerpoint/2010/main" val="2380288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23</a:t>
            </a:fld>
            <a:endParaRPr lang="en-US"/>
          </a:p>
        </p:txBody>
      </p:sp>
    </p:spTree>
    <p:extLst>
      <p:ext uri="{BB962C8B-B14F-4D97-AF65-F5344CB8AC3E}">
        <p14:creationId xmlns:p14="http://schemas.microsoft.com/office/powerpoint/2010/main" val="3574165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p:txBody>
          <a:bodyPr/>
          <a:lstStyle>
            <a:lvl1pPr algn="ctr" defTabSz="914440" eaLnBrk="0" hangingPunct="0">
              <a:defRPr sz="1600" b="1">
                <a:solidFill>
                  <a:schemeClr val="tx1"/>
                </a:solidFill>
                <a:latin typeface="Arial" charset="0"/>
              </a:defRPr>
            </a:lvl1pPr>
            <a:lvl2pPr marL="702722" indent="-270278" algn="ctr" defTabSz="914440" eaLnBrk="0" hangingPunct="0">
              <a:defRPr sz="1600" b="1">
                <a:solidFill>
                  <a:schemeClr val="tx1"/>
                </a:solidFill>
                <a:latin typeface="Arial" charset="0"/>
              </a:defRPr>
            </a:lvl2pPr>
            <a:lvl3pPr marL="1081110" indent="-216222" algn="ctr" defTabSz="914440" eaLnBrk="0" hangingPunct="0">
              <a:defRPr sz="1600" b="1">
                <a:solidFill>
                  <a:schemeClr val="tx1"/>
                </a:solidFill>
                <a:latin typeface="Arial" charset="0"/>
              </a:defRPr>
            </a:lvl3pPr>
            <a:lvl4pPr marL="1513554" indent="-216222" algn="ctr" defTabSz="914440" eaLnBrk="0" hangingPunct="0">
              <a:defRPr sz="1600" b="1">
                <a:solidFill>
                  <a:schemeClr val="tx1"/>
                </a:solidFill>
                <a:latin typeface="Arial" charset="0"/>
              </a:defRPr>
            </a:lvl4pPr>
            <a:lvl5pPr marL="1945998" indent="-216222" algn="ctr" defTabSz="914440" eaLnBrk="0" hangingPunct="0">
              <a:defRPr sz="1600" b="1">
                <a:solidFill>
                  <a:schemeClr val="tx1"/>
                </a:solidFill>
                <a:latin typeface="Arial" charset="0"/>
              </a:defRPr>
            </a:lvl5pPr>
            <a:lvl6pPr marL="2378442" indent="-216222" algn="ctr" defTabSz="914440" eaLnBrk="0" fontAlgn="base" hangingPunct="0">
              <a:spcBef>
                <a:spcPct val="0"/>
              </a:spcBef>
              <a:spcAft>
                <a:spcPct val="0"/>
              </a:spcAft>
              <a:defRPr sz="1600" b="1">
                <a:solidFill>
                  <a:schemeClr val="tx1"/>
                </a:solidFill>
                <a:latin typeface="Arial" charset="0"/>
              </a:defRPr>
            </a:lvl6pPr>
            <a:lvl7pPr marL="2810886" indent="-216222" algn="ctr" defTabSz="914440" eaLnBrk="0" fontAlgn="base" hangingPunct="0">
              <a:spcBef>
                <a:spcPct val="0"/>
              </a:spcBef>
              <a:spcAft>
                <a:spcPct val="0"/>
              </a:spcAft>
              <a:defRPr sz="1600" b="1">
                <a:solidFill>
                  <a:schemeClr val="tx1"/>
                </a:solidFill>
                <a:latin typeface="Arial" charset="0"/>
              </a:defRPr>
            </a:lvl7pPr>
            <a:lvl8pPr marL="3243330" indent="-216222" algn="ctr" defTabSz="914440" eaLnBrk="0" fontAlgn="base" hangingPunct="0">
              <a:spcBef>
                <a:spcPct val="0"/>
              </a:spcBef>
              <a:spcAft>
                <a:spcPct val="0"/>
              </a:spcAft>
              <a:defRPr sz="1600" b="1">
                <a:solidFill>
                  <a:schemeClr val="tx1"/>
                </a:solidFill>
                <a:latin typeface="Arial" charset="0"/>
              </a:defRPr>
            </a:lvl8pPr>
            <a:lvl9pPr marL="3675774" indent="-216222" algn="ctr" defTabSz="914440" eaLnBrk="0" fontAlgn="base" hangingPunct="0">
              <a:spcBef>
                <a:spcPct val="0"/>
              </a:spcBef>
              <a:spcAft>
                <a:spcPct val="0"/>
              </a:spcAft>
              <a:defRPr sz="1600" b="1">
                <a:solidFill>
                  <a:schemeClr val="tx1"/>
                </a:solidFill>
                <a:latin typeface="Arial" charset="0"/>
              </a:defRPr>
            </a:lvl9pPr>
          </a:lstStyle>
          <a:p>
            <a:pPr algn="r" eaLnBrk="1" hangingPunct="1">
              <a:defRPr/>
            </a:pPr>
            <a:fld id="{BBC8FABA-E857-4128-985F-1A75FDD87782}" type="slidenum">
              <a:rPr lang="en-US" sz="1300" b="0">
                <a:latin typeface="Times New Roman" pitchFamily="18" charset="0"/>
              </a:rPr>
              <a:pPr algn="r" eaLnBrk="1" hangingPunct="1">
                <a:defRPr/>
              </a:pPr>
              <a:t>29</a:t>
            </a:fld>
            <a:endParaRPr lang="en-US" sz="1300" b="0" dirty="0">
              <a:latin typeface="Times New Roman" pitchFamily="18" charset="0"/>
            </a:endParaRPr>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xfrm>
            <a:off x="701040" y="4415790"/>
            <a:ext cx="5608320" cy="4347210"/>
          </a:xfrm>
          <a:noFill/>
        </p:spPr>
        <p:txBody>
          <a:bodyPr/>
          <a:lstStyle/>
          <a:p>
            <a:pPr eaLnBrk="1" hangingPunct="1"/>
            <a:endParaRPr lang="en-US" b="1" dirty="0"/>
          </a:p>
          <a:p>
            <a:pPr eaLnBrk="1" hangingPunct="1"/>
            <a:r>
              <a:rPr lang="en-US" b="1" dirty="0"/>
              <a:t>Emphasize this (a lot!):  he blind spot is often things we do well,</a:t>
            </a:r>
          </a:p>
          <a:p>
            <a:pPr eaLnBrk="1" hangingPunct="1"/>
            <a:r>
              <a:rPr lang="en-US" b="1" dirty="0"/>
              <a:t> things others’ appreciate.</a:t>
            </a:r>
          </a:p>
          <a:p>
            <a:pPr eaLnBrk="1" hangingPunct="1"/>
            <a:endParaRPr lang="en-US" dirty="0"/>
          </a:p>
          <a:p>
            <a:pPr lvl="0"/>
            <a:r>
              <a:rPr lang="en-US" dirty="0"/>
              <a:t>Introduce the </a:t>
            </a:r>
            <a:r>
              <a:rPr lang="en-US" dirty="0" err="1"/>
              <a:t>Johari</a:t>
            </a:r>
            <a:r>
              <a:rPr lang="en-US" dirty="0"/>
              <a:t> Window, a model developed in the 1950s. </a:t>
            </a:r>
          </a:p>
          <a:p>
            <a:pPr lvl="0"/>
            <a:r>
              <a:rPr lang="en-US" dirty="0"/>
              <a:t>Explain that this model comes from Joe </a:t>
            </a:r>
            <a:r>
              <a:rPr lang="en-US" dirty="0" err="1"/>
              <a:t>Luft</a:t>
            </a:r>
            <a:r>
              <a:rPr lang="en-US" dirty="0"/>
              <a:t> (“Jo) and Harry </a:t>
            </a:r>
          </a:p>
          <a:p>
            <a:pPr lvl="0"/>
            <a:r>
              <a:rPr lang="en-US" dirty="0" err="1"/>
              <a:t>Hari</a:t>
            </a:r>
            <a:r>
              <a:rPr lang="en-US" dirty="0"/>
              <a:t>”) Ingham (and thus the name of the model   Review each of the two windows.</a:t>
            </a:r>
          </a:p>
          <a:p>
            <a:pPr lvl="0"/>
            <a:endParaRPr lang="en-US" b="1" dirty="0"/>
          </a:p>
          <a:p>
            <a:r>
              <a:rPr lang="en-US" b="1" dirty="0"/>
              <a:t>Arena:  </a:t>
            </a:r>
            <a:r>
              <a:rPr lang="en-US" dirty="0"/>
              <a:t>things that we and others know</a:t>
            </a:r>
            <a:br>
              <a:rPr lang="en-US" dirty="0"/>
            </a:br>
            <a:r>
              <a:rPr lang="en-US" dirty="0"/>
              <a:t>Example:  I pulled out in front of someone in traffic when I should have waited.  The driver was irritated and confronted me about it.  I deflected (brain reaction) and fired back by saying the driver was at fault because he was going to fast!  Even though it was clearly my fault I still deflected responsibility.  </a:t>
            </a:r>
          </a:p>
          <a:p>
            <a:pPr lvl="0"/>
            <a:r>
              <a:rPr lang="en-US" dirty="0"/>
              <a:t>Ask, “ Who is the ‘they’ in “things they know” window? Manager, customers, peers?”</a:t>
            </a:r>
          </a:p>
          <a:p>
            <a:pPr lvl="0"/>
            <a:r>
              <a:rPr lang="en-US" dirty="0"/>
              <a:t>Ask, regarding the unspoken or arena window, “If I’m the employee and no one has said anything to me about a disruptive or unproductive behavior then what am I thinking?  </a:t>
            </a:r>
          </a:p>
          <a:p>
            <a:pPr lvl="0"/>
            <a:r>
              <a:rPr lang="en-US" dirty="0"/>
              <a:t>Typical Response:  It must be ok.</a:t>
            </a:r>
          </a:p>
          <a:p>
            <a:pPr lvl="0"/>
            <a:r>
              <a:rPr lang="en-US" dirty="0"/>
              <a:t>Ask, “How does the manager look if he/she is not doing anything about it?”</a:t>
            </a:r>
          </a:p>
          <a:p>
            <a:r>
              <a:rPr lang="en-US" dirty="0"/>
              <a:t>Typical Response:  Spineless, weak, clueless, etc.</a:t>
            </a:r>
          </a:p>
          <a:p>
            <a:pPr lvl="0"/>
            <a:r>
              <a:rPr lang="en-US" b="1" dirty="0"/>
              <a:t>Blind Spot:  </a:t>
            </a:r>
            <a:r>
              <a:rPr lang="en-US" dirty="0"/>
              <a:t>Explain that the “blind spots” are areas known to others but not known to you (things we should be aware of; positive/things others’ appreciate and something we could do to be even more effective (see professor example on next slide). </a:t>
            </a:r>
          </a:p>
          <a:p>
            <a:r>
              <a:rPr lang="en-US" b="1" dirty="0"/>
              <a:t>Emphasize this (a lot!):  the blind spot is often things we do well, things others’ appreciate.</a:t>
            </a:r>
            <a:endParaRPr lang="en-US" dirty="0"/>
          </a:p>
          <a:p>
            <a:r>
              <a:rPr lang="en-US" dirty="0"/>
              <a:t>The idea is to shrink the blind spot and have more information in the arena.</a:t>
            </a:r>
          </a:p>
          <a:p>
            <a:pPr lvl="0"/>
            <a:endParaRPr lang="en-US" dirty="0"/>
          </a:p>
          <a:p>
            <a:pPr eaLnBrk="1" hangingPunct="1"/>
            <a:r>
              <a:rPr lang="en-US" dirty="0"/>
              <a:t>Note to facilitator:  Can you think of an example that relates to yourself.  A short story is always effective.  </a:t>
            </a: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1494" y="2971800"/>
            <a:ext cx="1888913" cy="24526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re are two ways to self organize your own learning and both involve asking good questions</a:t>
            </a:r>
          </a:p>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31</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p:spPr>
        <p:txBody>
          <a:bodyPr/>
          <a:lstStyle/>
          <a:p>
            <a:r>
              <a:rPr lang="en-US" dirty="0"/>
              <a:t>General feedback sound like, “great presentation”, “nicely written report”, “I liked how you handled that call”.  We give and receive this type of feedback often, but it doesn’t tell the fully story.</a:t>
            </a:r>
          </a:p>
          <a:p>
            <a:r>
              <a:rPr lang="en-US" dirty="0"/>
              <a:t>  When receiving positive but general feedback ask a clarifying question to receive more specific information.</a:t>
            </a:r>
          </a:p>
          <a:p>
            <a:r>
              <a:rPr lang="en-US" dirty="0"/>
              <a:t> </a:t>
            </a:r>
          </a:p>
          <a:p>
            <a:r>
              <a:rPr lang="en-US" dirty="0"/>
              <a:t>The </a:t>
            </a:r>
            <a:r>
              <a:rPr lang="en-US" i="1" dirty="0"/>
              <a:t>What Did You Like About It</a:t>
            </a:r>
            <a:r>
              <a:rPr lang="en-US" dirty="0"/>
              <a:t> question occurs right after an incident, perhaps a presentation or meeting.  Let's say you finish a presentation and your supervisor, colleague or even a vendor say to you “That was a great presentation!”  Rather than replying “Thanks” and walk away, ask a very specific question:</a:t>
            </a:r>
          </a:p>
          <a:p>
            <a:r>
              <a:rPr lang="en-US" dirty="0"/>
              <a:t> </a:t>
            </a:r>
          </a:p>
          <a:p>
            <a:r>
              <a:rPr lang="en-US" dirty="0"/>
              <a:t>“Thanks.  What did you like about it?”</a:t>
            </a:r>
          </a:p>
          <a:p>
            <a:r>
              <a:rPr lang="en-US" dirty="0"/>
              <a:t> </a:t>
            </a:r>
          </a:p>
          <a:p>
            <a:r>
              <a:rPr lang="en-US" dirty="0"/>
              <a:t> </a:t>
            </a:r>
          </a:p>
          <a:p>
            <a:r>
              <a:rPr lang="en-US" dirty="0"/>
              <a:t> </a:t>
            </a:r>
          </a:p>
          <a:p>
            <a:r>
              <a:rPr lang="en-US" dirty="0"/>
              <a:t> </a:t>
            </a:r>
            <a:r>
              <a:rPr lang="en-US" b="1" dirty="0"/>
              <a:t>Activity</a:t>
            </a:r>
          </a:p>
          <a:p>
            <a:r>
              <a:rPr lang="en-US" dirty="0"/>
              <a:t> </a:t>
            </a:r>
          </a:p>
          <a:p>
            <a:endParaRPr lang="en-US" dirty="0"/>
          </a:p>
          <a:p>
            <a:r>
              <a:rPr lang="en-US" dirty="0"/>
              <a:t>Match the general comments with the clarifying question (more than one may apply).</a:t>
            </a:r>
          </a:p>
          <a:p>
            <a:r>
              <a:rPr lang="en-US" dirty="0"/>
              <a:t> </a:t>
            </a:r>
          </a:p>
          <a:p>
            <a:r>
              <a:rPr lang="en-US" dirty="0"/>
              <a:t>Facilitator Note:  Answer B. is not a clarifying question.   </a:t>
            </a:r>
          </a:p>
          <a:p>
            <a:r>
              <a:rPr lang="en-US" dirty="0"/>
              <a:t> </a:t>
            </a:r>
          </a:p>
          <a:p>
            <a:endParaRPr lang="en-US" dirty="0"/>
          </a:p>
          <a:p>
            <a:endParaRPr lang="en-US" dirty="0"/>
          </a:p>
        </p:txBody>
      </p:sp>
      <p:sp>
        <p:nvSpPr>
          <p:cNvPr id="99332" name="Slide Number Placeholder 3"/>
          <p:cNvSpPr>
            <a:spLocks noGrp="1"/>
          </p:cNvSpPr>
          <p:nvPr>
            <p:ph type="sldNum" sz="quarter" idx="5"/>
          </p:nvPr>
        </p:nvSpPr>
        <p:spPr>
          <a:noFill/>
        </p:spPr>
        <p:txBody>
          <a:bodyPr/>
          <a:lstStyle>
            <a:lvl1pPr defTabSz="913163" eaLnBrk="0" hangingPunct="0">
              <a:defRPr b="1">
                <a:solidFill>
                  <a:schemeClr val="tx1"/>
                </a:solidFill>
                <a:latin typeface="Arial" charset="0"/>
                <a:cs typeface="Arial" charset="0"/>
              </a:defRPr>
            </a:lvl1pPr>
            <a:lvl2pPr marL="723113" indent="-278120" defTabSz="913163" eaLnBrk="0" hangingPunct="0">
              <a:defRPr b="1">
                <a:solidFill>
                  <a:schemeClr val="tx1"/>
                </a:solidFill>
                <a:latin typeface="Arial" charset="0"/>
                <a:cs typeface="Arial" charset="0"/>
              </a:defRPr>
            </a:lvl2pPr>
            <a:lvl3pPr marL="1112482" indent="-222496" defTabSz="913163" eaLnBrk="0" hangingPunct="0">
              <a:defRPr b="1">
                <a:solidFill>
                  <a:schemeClr val="tx1"/>
                </a:solidFill>
                <a:latin typeface="Arial" charset="0"/>
                <a:cs typeface="Arial" charset="0"/>
              </a:defRPr>
            </a:lvl3pPr>
            <a:lvl4pPr marL="1557475" indent="-222496" defTabSz="913163" eaLnBrk="0" hangingPunct="0">
              <a:defRPr b="1">
                <a:solidFill>
                  <a:schemeClr val="tx1"/>
                </a:solidFill>
                <a:latin typeface="Arial" charset="0"/>
                <a:cs typeface="Arial" charset="0"/>
              </a:defRPr>
            </a:lvl4pPr>
            <a:lvl5pPr marL="2002467" indent="-222496" defTabSz="913163" eaLnBrk="0" hangingPunct="0">
              <a:defRPr b="1">
                <a:solidFill>
                  <a:schemeClr val="tx1"/>
                </a:solidFill>
                <a:latin typeface="Arial" charset="0"/>
                <a:cs typeface="Arial" charset="0"/>
              </a:defRPr>
            </a:lvl5pPr>
            <a:lvl6pPr marL="2447460" indent="-222496" defTabSz="913163" eaLnBrk="0" fontAlgn="base" hangingPunct="0">
              <a:spcBef>
                <a:spcPct val="0"/>
              </a:spcBef>
              <a:spcAft>
                <a:spcPct val="0"/>
              </a:spcAft>
              <a:defRPr b="1">
                <a:solidFill>
                  <a:schemeClr val="tx1"/>
                </a:solidFill>
                <a:latin typeface="Arial" charset="0"/>
                <a:cs typeface="Arial" charset="0"/>
              </a:defRPr>
            </a:lvl6pPr>
            <a:lvl7pPr marL="2892453" indent="-222496" defTabSz="913163" eaLnBrk="0" fontAlgn="base" hangingPunct="0">
              <a:spcBef>
                <a:spcPct val="0"/>
              </a:spcBef>
              <a:spcAft>
                <a:spcPct val="0"/>
              </a:spcAft>
              <a:defRPr b="1">
                <a:solidFill>
                  <a:schemeClr val="tx1"/>
                </a:solidFill>
                <a:latin typeface="Arial" charset="0"/>
                <a:cs typeface="Arial" charset="0"/>
              </a:defRPr>
            </a:lvl7pPr>
            <a:lvl8pPr marL="3337446" indent="-222496" defTabSz="913163" eaLnBrk="0" fontAlgn="base" hangingPunct="0">
              <a:spcBef>
                <a:spcPct val="0"/>
              </a:spcBef>
              <a:spcAft>
                <a:spcPct val="0"/>
              </a:spcAft>
              <a:defRPr b="1">
                <a:solidFill>
                  <a:schemeClr val="tx1"/>
                </a:solidFill>
                <a:latin typeface="Arial" charset="0"/>
                <a:cs typeface="Arial" charset="0"/>
              </a:defRPr>
            </a:lvl8pPr>
            <a:lvl9pPr marL="3782438" indent="-222496" defTabSz="913163" eaLnBrk="0" fontAlgn="base" hangingPunct="0">
              <a:spcBef>
                <a:spcPct val="0"/>
              </a:spcBef>
              <a:spcAft>
                <a:spcPct val="0"/>
              </a:spcAft>
              <a:defRPr b="1">
                <a:solidFill>
                  <a:schemeClr val="tx1"/>
                </a:solidFill>
                <a:latin typeface="Arial" charset="0"/>
                <a:cs typeface="Arial" charset="0"/>
              </a:defRPr>
            </a:lvl9pPr>
          </a:lstStyle>
          <a:p>
            <a:pPr eaLnBrk="1" hangingPunct="1"/>
            <a:fld id="{71547F45-2D8F-44CD-A865-A7A040D2C0D8}" type="slidenum">
              <a:rPr lang="en-US" b="0" smtClean="0">
                <a:solidFill>
                  <a:prstClr val="black"/>
                </a:solidFill>
                <a:latin typeface="Times New Roman" pitchFamily="18" charset="0"/>
              </a:rPr>
              <a:pPr eaLnBrk="1" hangingPunct="1"/>
              <a:t>32</a:t>
            </a:fld>
            <a:endParaRPr lang="en-US" b="0">
              <a:solidFill>
                <a:prstClr val="black"/>
              </a:solidFill>
              <a:latin typeface="Times New Roman" pitchFamily="18"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
        <p:nvSpPr>
          <p:cNvPr id="7" name="Oval 6"/>
          <p:cNvSpPr/>
          <p:nvPr/>
        </p:nvSpPr>
        <p:spPr>
          <a:xfrm>
            <a:off x="1219200" y="762000"/>
            <a:ext cx="1066800"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3"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234564601"/>
      </p:ext>
    </p:extLst>
  </p:cSld>
  <p:clrMapOvr>
    <a:masterClrMapping/>
  </p:clrMapOvr>
  <p:transition spd="slow">
    <p:rand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4"/>
            <a:ext cx="11703050" cy="1819275"/>
          </a:xfrm>
          <a:prstGeom prst="rect">
            <a:avLst/>
          </a:prstGeom>
        </p:spPr>
        <p:txBody>
          <a:bodyPr vert="horz" lIns="91036" tIns="45503" rIns="91036" bIns="45503"/>
          <a:lstStyle>
            <a:lvl1pPr>
              <a:defRPr sz="6600">
                <a:solidFill>
                  <a:schemeClr val="tx1"/>
                </a:solidFill>
                <a:latin typeface="Arial" pitchFamily="34" charset="0"/>
                <a:cs typeface="Arial" pitchFamily="34" charset="0"/>
              </a:defRPr>
            </a:lvl1pPr>
          </a:lstStyle>
          <a:p>
            <a:r>
              <a:rPr lang="en-US" dirty="0"/>
              <a:t>TITLE TEXT</a:t>
            </a:r>
          </a:p>
        </p:txBody>
      </p:sp>
      <p:sp>
        <p:nvSpPr>
          <p:cNvPr id="6" name="Text Placeholder 5"/>
          <p:cNvSpPr>
            <a:spLocks noGrp="1"/>
          </p:cNvSpPr>
          <p:nvPr>
            <p:ph type="body" sz="quarter" idx="10"/>
          </p:nvPr>
        </p:nvSpPr>
        <p:spPr>
          <a:xfrm>
            <a:off x="635001" y="2667000"/>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noChangeArrowheads="1"/>
          </p:cNvSpPr>
          <p:nvPr>
            <p:ph type="sldNum" sz="quarter" idx="11"/>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991974477"/>
      </p:ext>
    </p:extLst>
  </p:cSld>
  <p:clrMapOvr>
    <a:masterClrMapping/>
  </p:clrMapOvr>
  <p:transition spd="slow">
    <p:rand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 Just On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Rectangle 3"/>
          <p:cNvSpPr>
            <a:spLocks noGrp="1" noChangeArrowheads="1"/>
          </p:cNvSpPr>
          <p:nvPr>
            <p:ph type="sldNum" sz="quarter" idx="11"/>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681020197"/>
      </p:ext>
    </p:extLst>
  </p:cSld>
  <p:clrMapOvr>
    <a:masterClrMapping/>
  </p:clrMapOvr>
  <p:transition spd="slow">
    <p:rand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 Just One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Text Placeholder 8"/>
          <p:cNvSpPr>
            <a:spLocks noGrp="1"/>
          </p:cNvSpPr>
          <p:nvPr>
            <p:ph type="body" sz="quarter" idx="12" hasCustomPrompt="1"/>
          </p:nvPr>
        </p:nvSpPr>
        <p:spPr>
          <a:xfrm>
            <a:off x="0" y="4038723"/>
            <a:ext cx="13004800" cy="1524001"/>
          </a:xfrm>
          <a:prstGeom prst="rect">
            <a:avLst/>
          </a:prstGeom>
          <a:solidFill>
            <a:srgbClr val="DE4222">
              <a:alpha val="86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5" name="Rectangle 3"/>
          <p:cNvSpPr>
            <a:spLocks noGrp="1" noChangeArrowheads="1"/>
          </p:cNvSpPr>
          <p:nvPr>
            <p:ph type="sldNum" sz="quarter" idx="1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6"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181672398"/>
      </p:ext>
    </p:extLst>
  </p:cSld>
  <p:clrMapOvr>
    <a:masterClrMapping/>
  </p:clrMapOvr>
  <p:transition spd="slow">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Just One Text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5" name="Text Placeholder 8"/>
          <p:cNvSpPr>
            <a:spLocks noGrp="1"/>
          </p:cNvSpPr>
          <p:nvPr>
            <p:ph type="body" sz="quarter" idx="12" hasCustomPrompt="1"/>
          </p:nvPr>
        </p:nvSpPr>
        <p:spPr>
          <a:xfrm>
            <a:off x="0" y="4038723"/>
            <a:ext cx="13004800" cy="1524001"/>
          </a:xfrm>
          <a:prstGeom prst="rect">
            <a:avLst/>
          </a:prstGeom>
          <a:solidFill>
            <a:srgbClr val="28535A">
              <a:alpha val="78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6" name="Rectangle 3"/>
          <p:cNvSpPr>
            <a:spLocks noGrp="1" noChangeArrowheads="1"/>
          </p:cNvSpPr>
          <p:nvPr>
            <p:ph type="sldNum" sz="quarter" idx="1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7"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602448201"/>
      </p:ext>
    </p:extLst>
  </p:cSld>
  <p:clrMapOvr>
    <a:masterClrMapping/>
  </p:clrMapOvr>
  <p:transition spd="slow">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s - A Couple">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4" name="Picture Placeholder 3"/>
          <p:cNvSpPr>
            <a:spLocks noGrp="1"/>
          </p:cNvSpPr>
          <p:nvPr>
            <p:ph type="pic" sz="quarter" idx="10"/>
          </p:nvPr>
        </p:nvSpPr>
        <p:spPr>
          <a:xfrm>
            <a:off x="650240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6" name="Rectangle 3"/>
          <p:cNvSpPr>
            <a:spLocks noGrp="1" noChangeArrowheads="1"/>
          </p:cNvSpPr>
          <p:nvPr>
            <p:ph type="sldNum" sz="quarter" idx="14"/>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7"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759201595"/>
      </p:ext>
    </p:extLst>
  </p:cSld>
  <p:clrMapOvr>
    <a:masterClrMapping/>
  </p:clrMapOvr>
  <p:transition spd="slow">
    <p:random/>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allery - 3 Images Alt Green">
    <p:spTree>
      <p:nvGrpSpPr>
        <p:cNvPr id="1" name=""/>
        <p:cNvGrpSpPr/>
        <p:nvPr/>
      </p:nvGrpSpPr>
      <p:grpSpPr>
        <a:xfrm>
          <a:off x="0" y="0"/>
          <a:ext cx="0" cy="0"/>
          <a:chOff x="0" y="0"/>
          <a:chExt cx="0" cy="0"/>
        </a:xfrm>
      </p:grpSpPr>
      <p:sp>
        <p:nvSpPr>
          <p:cNvPr id="14" name="Picture Placeholder 3"/>
          <p:cNvSpPr>
            <a:spLocks noGrp="1" noChangeAspect="1"/>
          </p:cNvSpPr>
          <p:nvPr>
            <p:ph type="pic" sz="quarter" idx="14"/>
          </p:nvPr>
        </p:nvSpPr>
        <p:spPr>
          <a:xfrm>
            <a:off x="0" y="0"/>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5" name="Picture Placeholder 3"/>
          <p:cNvSpPr>
            <a:spLocks noGrp="1" noChangeAspect="1"/>
          </p:cNvSpPr>
          <p:nvPr>
            <p:ph type="pic" sz="quarter" idx="15"/>
          </p:nvPr>
        </p:nvSpPr>
        <p:spPr>
          <a:xfrm>
            <a:off x="0" y="6525976"/>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6" name="Picture Placeholder 3"/>
          <p:cNvSpPr>
            <a:spLocks noGrp="1" noChangeAspect="1"/>
          </p:cNvSpPr>
          <p:nvPr>
            <p:ph type="pic" sz="quarter" idx="13"/>
          </p:nvPr>
        </p:nvSpPr>
        <p:spPr>
          <a:xfrm>
            <a:off x="0" y="3262987"/>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8" name="Text Placeholder 8"/>
          <p:cNvSpPr>
            <a:spLocks noGrp="1"/>
          </p:cNvSpPr>
          <p:nvPr>
            <p:ph type="body" sz="quarter" idx="11" hasCustomPrompt="1"/>
          </p:nvPr>
        </p:nvSpPr>
        <p:spPr>
          <a:xfrm>
            <a:off x="4749800" y="9906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One</a:t>
            </a:r>
          </a:p>
        </p:txBody>
      </p:sp>
      <p:sp>
        <p:nvSpPr>
          <p:cNvPr id="9" name="Text Placeholder 8"/>
          <p:cNvSpPr>
            <a:spLocks noGrp="1"/>
          </p:cNvSpPr>
          <p:nvPr>
            <p:ph type="body" sz="quarter" idx="16" hasCustomPrompt="1"/>
          </p:nvPr>
        </p:nvSpPr>
        <p:spPr>
          <a:xfrm>
            <a:off x="4749800" y="41529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wo</a:t>
            </a:r>
          </a:p>
        </p:txBody>
      </p:sp>
      <p:sp>
        <p:nvSpPr>
          <p:cNvPr id="10" name="Text Placeholder 8"/>
          <p:cNvSpPr>
            <a:spLocks noGrp="1"/>
          </p:cNvSpPr>
          <p:nvPr>
            <p:ph type="body" sz="quarter" idx="17" hasCustomPrompt="1"/>
          </p:nvPr>
        </p:nvSpPr>
        <p:spPr>
          <a:xfrm>
            <a:off x="4749800" y="73152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hree</a:t>
            </a:r>
          </a:p>
        </p:txBody>
      </p:sp>
      <p:sp>
        <p:nvSpPr>
          <p:cNvPr id="11"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12"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4127386975"/>
      </p:ext>
    </p:extLst>
  </p:cSld>
  <p:clrMapOvr>
    <a:masterClrMapping/>
  </p:clrMapOvr>
  <p:transition spd="slow">
    <p:rand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29453" tIns="64727" rIns="129453" bIns="64727"/>
          <a:lstStyle>
            <a:lvl1pPr>
              <a:defRPr sz="6000">
                <a:latin typeface="+mn-lt"/>
                <a:cs typeface="Leelawadee" pitchFamily="34" charset="-34"/>
              </a:defRPr>
            </a:lvl1pPr>
          </a:lstStyle>
          <a:p>
            <a:r>
              <a:rPr lang="en-US" dirty="0"/>
              <a:t>Click to edit Master title style</a:t>
            </a:r>
          </a:p>
        </p:txBody>
      </p:sp>
      <p:sp>
        <p:nvSpPr>
          <p:cNvPr id="3" name="Content Placeholder 2"/>
          <p:cNvSpPr>
            <a:spLocks noGrp="1"/>
          </p:cNvSpPr>
          <p:nvPr>
            <p:ph idx="1"/>
          </p:nvPr>
        </p:nvSpPr>
        <p:spPr>
          <a:xfrm>
            <a:off x="866987" y="2275966"/>
            <a:ext cx="11704320" cy="6436925"/>
          </a:xfrm>
          <a:prstGeom prst="rect">
            <a:avLst/>
          </a:prstGeom>
        </p:spPr>
        <p:txBody>
          <a:bodyPr lIns="129453" tIns="64727" rIns="129453" bIns="64727"/>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6"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183744363"/>
      </p:ext>
    </p:extLst>
  </p:cSld>
  <p:clrMapOvr>
    <a:overrideClrMapping bg1="lt1" tx1="dk1" bg2="lt2" tx2="dk2" accent1="accent1" accent2="accent2" accent3="accent3" accent4="accent4" accent5="accent5" accent6="accent6" hlink="hlink" folHlink="folHlink"/>
  </p:clrMapOvr>
  <p:transition spd="slow">
    <p:rand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445516008"/>
      </p:ext>
    </p:extLst>
  </p:cSld>
  <p:clrMapOvr>
    <a:masterClrMapping/>
  </p:clrMapOvr>
  <p:transition spd="slow">
    <p:random/>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369873" name="Rectangle 209"/>
          <p:cNvSpPr>
            <a:spLocks noGrp="1" noChangeArrowheads="1"/>
          </p:cNvSpPr>
          <p:nvPr>
            <p:ph type="ctrTitle"/>
          </p:nvPr>
        </p:nvSpPr>
        <p:spPr bwMode="white">
          <a:xfrm>
            <a:off x="925691" y="3366347"/>
            <a:ext cx="11212124" cy="1180817"/>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anchor="ctr"/>
          <a:lstStyle>
            <a:lvl1pPr algn="ctr">
              <a:defRPr sz="5400" b="0">
                <a:solidFill>
                  <a:srgbClr val="FFFFFF"/>
                </a:solidFill>
              </a:defRPr>
            </a:lvl1pPr>
          </a:lstStyle>
          <a:p>
            <a:pPr lvl="0"/>
            <a:r>
              <a:rPr lang="en-US" altLang="en-US" noProof="0" dirty="0"/>
              <a:t>Click To Edit Master Title Style</a:t>
            </a:r>
          </a:p>
        </p:txBody>
      </p:sp>
      <p:sp>
        <p:nvSpPr>
          <p:cNvPr id="5"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035140985"/>
      </p:ext>
    </p:extLst>
  </p:cSld>
  <p:clrMapOvr>
    <a:masterClrMapping/>
  </p:clrMapOvr>
  <p:transition spd="slow">
    <p:random/>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94080" y="519290"/>
            <a:ext cx="11216640" cy="1885245"/>
          </a:xfrm>
          <a:prstGeom prst="rect">
            <a:avLst/>
          </a:prstGeom>
        </p:spPr>
        <p:txBody>
          <a:bodyPr lIns="109234" tIns="54617" rIns="109234" bIns="54617"/>
          <a:lstStyle/>
          <a:p>
            <a:r>
              <a:rPr lang="en-US"/>
              <a:t>Click to edit Master title style</a:t>
            </a:r>
          </a:p>
        </p:txBody>
      </p:sp>
      <p:sp>
        <p:nvSpPr>
          <p:cNvPr id="3" name="Date Placeholder 2"/>
          <p:cNvSpPr>
            <a:spLocks noGrp="1"/>
          </p:cNvSpPr>
          <p:nvPr>
            <p:ph type="dt" sz="half" idx="10"/>
          </p:nvPr>
        </p:nvSpPr>
        <p:spPr>
          <a:xfrm>
            <a:off x="894080" y="9040143"/>
            <a:ext cx="2926080" cy="519289"/>
          </a:xfrm>
          <a:prstGeom prst="rect">
            <a:avLst/>
          </a:prstGeom>
        </p:spPr>
        <p:txBody>
          <a:bodyPr lIns="109234" tIns="54617" rIns="109234" bIns="54617"/>
          <a:lstStyle/>
          <a:p>
            <a:fld id="{1A1DB7FE-6114-491F-85AE-B15B7706573E}" type="datetimeFigureOut">
              <a:rPr lang="en-US" smtClean="0"/>
              <a:pPr/>
              <a:t>6/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lIns="109234" tIns="54617" rIns="109234" bIns="54617"/>
          <a:lstStyle/>
          <a:p>
            <a:fld id="{EE9CE31B-39A0-49B0-A273-953DA6E5A6A8}" type="slidenum">
              <a:rPr lang="en-US" smtClean="0"/>
              <a:pPr/>
              <a:t>‹#›</a:t>
            </a:fld>
            <a:endParaRPr lang="en-US"/>
          </a:p>
        </p:txBody>
      </p:sp>
    </p:spTree>
    <p:extLst>
      <p:ext uri="{BB962C8B-B14F-4D97-AF65-F5344CB8AC3E}">
        <p14:creationId xmlns:p14="http://schemas.microsoft.com/office/powerpoint/2010/main" val="38711696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spTree>
      <p:nvGrpSpPr>
        <p:cNvPr id="1" name=""/>
        <p:cNvGrpSpPr/>
        <p:nvPr/>
      </p:nvGrpSpPr>
      <p:grpSpPr>
        <a:xfrm>
          <a:off x="0" y="0"/>
          <a:ext cx="0" cy="0"/>
          <a:chOff x="0" y="0"/>
          <a:chExt cx="0" cy="0"/>
        </a:xfrm>
      </p:grpSpPr>
      <p:sp>
        <p:nvSpPr>
          <p:cNvPr id="6" name="Text Placeholder 6"/>
          <p:cNvSpPr>
            <a:spLocks noGrp="1"/>
          </p:cNvSpPr>
          <p:nvPr>
            <p:ph type="body" sz="quarter" idx="14" hasCustomPrompt="1"/>
          </p:nvPr>
        </p:nvSpPr>
        <p:spPr>
          <a:xfrm>
            <a:off x="2204721" y="609602"/>
            <a:ext cx="8412480" cy="8412480"/>
          </a:xfrm>
          <a:prstGeom prst="ellipse">
            <a:avLst/>
          </a:prstGeom>
          <a:solidFill>
            <a:srgbClr val="BAD80A"/>
          </a:solidFill>
        </p:spPr>
        <p:txBody>
          <a:bodyPr lIns="91036" tIns="45503" rIns="91036" bIns="45503"/>
          <a:lstStyle>
            <a:lvl1pPr>
              <a:defRPr b="0" i="0">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Leelawadee" pitchFamily="34" charset="-34"/>
                <a:cs typeface="Leelawadee" pitchFamily="34" charset="-34"/>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Leelawadee" pitchFamily="34" charset="-34"/>
                <a:cs typeface="Leelawadee" pitchFamily="34" charset="-34"/>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chemeClr val="tx1"/>
                </a:solidFill>
                <a:effectLst/>
                <a:latin typeface="Bitter Regular"/>
                <a:cs typeface="Bitter Regular"/>
              </a:defRPr>
            </a:lvl1pPr>
          </a:lstStyle>
          <a:p>
            <a:pPr lvl="0"/>
            <a:r>
              <a:rPr lang="en-US" dirty="0"/>
              <a:t>YOUR COOL SUBTITLE</a:t>
            </a:r>
          </a:p>
        </p:txBody>
      </p:sp>
      <p:sp>
        <p:nvSpPr>
          <p:cNvPr id="7"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32851241"/>
      </p:ext>
    </p:extLst>
  </p:cSld>
  <p:clrMapOvr>
    <a:masterClrMapping/>
  </p:clrMapOvr>
  <p:transition spd="slow">
    <p:rand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443413" y="9040813"/>
            <a:ext cx="4117975"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a:t>©2017 copyright Employee Performance Solutions, LLC  All Rights Reserved | For Use Within Pact</a:t>
            </a:r>
            <a:endParaRPr lang="en-US" dirty="0"/>
          </a:p>
        </p:txBody>
      </p:sp>
      <p:sp>
        <p:nvSpPr>
          <p:cNvPr id="6" name="Slide Number Placeholder 5"/>
          <p:cNvSpPr>
            <a:spLocks noGrp="1"/>
          </p:cNvSpPr>
          <p:nvPr>
            <p:ph type="sldNum" sz="quarter" idx="4"/>
          </p:nvPr>
        </p:nvSpPr>
        <p:spPr>
          <a:xfrm>
            <a:off x="9320213" y="9040813"/>
            <a:ext cx="3033712" cy="519112"/>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571C28B2-6165-4E51-AF07-4DBEEC1BC9B6}" type="slidenum">
              <a:rPr lang="en-US" smtClean="0"/>
              <a:pPr/>
              <a:t>‹#›</a:t>
            </a:fld>
            <a:endParaRPr lang="en-US" dirty="0"/>
          </a:p>
        </p:txBody>
      </p:sp>
    </p:spTree>
    <p:custDataLst>
      <p:tags r:id="rId1"/>
    </p:custDataLst>
    <p:extLst>
      <p:ext uri="{BB962C8B-B14F-4D97-AF65-F5344CB8AC3E}">
        <p14:creationId xmlns:p14="http://schemas.microsoft.com/office/powerpoint/2010/main" val="2035140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workbookpageheader">
    <p:spTree>
      <p:nvGrpSpPr>
        <p:cNvPr id="1" name=""/>
        <p:cNvGrpSpPr/>
        <p:nvPr/>
      </p:nvGrpSpPr>
      <p:grpSpPr>
        <a:xfrm>
          <a:off x="0" y="0"/>
          <a:ext cx="0" cy="0"/>
          <a:chOff x="0" y="0"/>
          <a:chExt cx="0" cy="0"/>
        </a:xfrm>
      </p:grpSpPr>
      <p:sp>
        <p:nvSpPr>
          <p:cNvPr id="2" name="Title 1"/>
          <p:cNvSpPr>
            <a:spLocks noGrp="1"/>
          </p:cNvSpPr>
          <p:nvPr>
            <p:ph type="title"/>
          </p:nvPr>
        </p:nvSpPr>
        <p:spPr>
          <a:xfrm>
            <a:off x="637490" y="221673"/>
            <a:ext cx="11704320" cy="422204"/>
          </a:xfrm>
          <a:prstGeom prst="rect">
            <a:avLst/>
          </a:prstGeom>
        </p:spPr>
        <p:txBody>
          <a:bodyPr>
            <a:noAutofit/>
          </a:bodyPr>
          <a:lstStyle>
            <a:lvl1pPr algn="l">
              <a:defRPr sz="1200">
                <a:solidFill>
                  <a:schemeClr val="bg1">
                    <a:lumMod val="65000"/>
                  </a:schemeClr>
                </a:solidFill>
              </a:defRPr>
            </a:lvl1pPr>
          </a:lstStyle>
          <a:p>
            <a:endParaRPr lang="en-US" dirty="0"/>
          </a:p>
        </p:txBody>
      </p:sp>
      <p:cxnSp>
        <p:nvCxnSpPr>
          <p:cNvPr id="7" name="Straight Connector 6"/>
          <p:cNvCxnSpPr/>
          <p:nvPr userDrawn="1"/>
        </p:nvCxnSpPr>
        <p:spPr>
          <a:xfrm>
            <a:off x="637490" y="591127"/>
            <a:ext cx="1172982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77800" y="9372600"/>
            <a:ext cx="7823200" cy="253916"/>
          </a:xfrm>
          <a:prstGeom prst="rect">
            <a:avLst/>
          </a:prstGeom>
        </p:spPr>
        <p:txBody>
          <a:bodyPr wrap="square">
            <a:spAutoFit/>
          </a:bodyPr>
          <a:lstStyle/>
          <a:p>
            <a:pPr algn="l"/>
            <a:r>
              <a:rPr lang="en-US" sz="1000" dirty="0">
                <a:latin typeface="Arial" pitchFamily="34" charset="0"/>
                <a:cs typeface="Arial" pitchFamily="34" charset="0"/>
              </a:rPr>
              <a:t>©2017 Employee Performance Solutions, LLC  All Rights Reserved | Licensing for Use Within Client Organization </a:t>
            </a:r>
          </a:p>
        </p:txBody>
      </p:sp>
    </p:spTree>
    <p:custDataLst>
      <p:tags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AB208AC-C283-4F3D-BDC6-3B3355A180C8}" type="datetimeFigureOut">
              <a:rPr lang="en-US" smtClean="0"/>
              <a:pPr/>
              <a:t>6/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EC7B5D-813E-4064-A9E3-741A818F476D}" type="slidenum">
              <a:rPr lang="en-US" smtClean="0"/>
              <a:pPr/>
              <a:t>‹#›</a:t>
            </a:fld>
            <a:endParaRPr lang="en-US"/>
          </a:p>
        </p:txBody>
      </p:sp>
    </p:spTree>
    <p:custDataLst>
      <p:tags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B208AC-C283-4F3D-BDC6-3B3355A180C8}" type="datetimeFigureOut">
              <a:rPr lang="en-US" smtClean="0"/>
              <a:pPr/>
              <a:t>6/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AB208AC-C283-4F3D-BDC6-3B3355A180C8}" type="datetimeFigureOut">
              <a:rPr lang="en-US" smtClean="0"/>
              <a:pPr/>
              <a:t>6/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EC7B5D-813E-4064-A9E3-741A818F476D}" type="slidenum">
              <a:rPr lang="en-US" smtClean="0"/>
              <a:pPr/>
              <a:t>‹#›</a:t>
            </a:fld>
            <a:endParaRPr lang="en-US"/>
          </a:p>
        </p:txBody>
      </p:sp>
    </p:spTree>
    <p:custDataLst>
      <p:tags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AB208AC-C283-4F3D-BDC6-3B3355A180C8}" type="datetimeFigureOut">
              <a:rPr lang="en-US" smtClean="0"/>
              <a:pPr/>
              <a:t>6/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AB208AC-C283-4F3D-BDC6-3B3355A180C8}" type="datetimeFigureOut">
              <a:rPr lang="en-US" smtClean="0"/>
              <a:pPr/>
              <a:t>6/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AB208AC-C283-4F3D-BDC6-3B3355A180C8}" type="datetimeFigureOut">
              <a:rPr lang="en-US" smtClean="0"/>
              <a:pPr/>
              <a:t>6/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208AC-C283-4F3D-BDC6-3B3355A180C8}" type="datetimeFigureOut">
              <a:rPr lang="en-US" smtClean="0"/>
              <a:pPr/>
              <a:t>6/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AB208AC-C283-4F3D-BDC6-3B3355A180C8}" type="datetimeFigureOut">
              <a:rPr lang="en-US" smtClean="0"/>
              <a:pPr/>
              <a:t>6/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Green">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2204721" y="609602"/>
            <a:ext cx="8412480" cy="8412480"/>
          </a:xfrm>
          <a:prstGeom prst="ellipse">
            <a:avLst/>
          </a:prstGeom>
          <a:solidFill>
            <a:srgbClr val="DE4222"/>
          </a:solidFill>
        </p:spPr>
        <p:txBody>
          <a:bodyPr lIns="91036" tIns="45503" rIns="91036" bIns="45503"/>
          <a:lstStyle>
            <a:lvl1pPr>
              <a:defRPr>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Bitter Regular"/>
                <a:cs typeface="Bitter Regular"/>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Bitter Regular"/>
                <a:cs typeface="Bitter Regular"/>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rgbClr val="28535A"/>
                </a:solidFill>
                <a:effectLst/>
                <a:latin typeface="Bitter Regular"/>
                <a:cs typeface="Bitter Regular"/>
              </a:defRPr>
            </a:lvl1pPr>
          </a:lstStyle>
          <a:p>
            <a:pPr lvl="0"/>
            <a:r>
              <a:rPr lang="en-US" dirty="0"/>
              <a:t>YOUR COOL SUBTITLE</a:t>
            </a:r>
          </a:p>
        </p:txBody>
      </p:sp>
      <p:sp>
        <p:nvSpPr>
          <p:cNvPr id="6"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049545106"/>
      </p:ext>
    </p:extLst>
  </p:cSld>
  <p:clrMapOvr>
    <a:masterClrMapping/>
  </p:clrMapOvr>
  <p:transition spd="slow">
    <p:random/>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AB208AC-C283-4F3D-BDC6-3B3355A180C8}" type="datetimeFigureOut">
              <a:rPr lang="en-US" smtClean="0"/>
              <a:pPr/>
              <a:t>6/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B208AC-C283-4F3D-BDC6-3B3355A180C8}" type="datetimeFigureOut">
              <a:rPr lang="en-US" smtClean="0"/>
              <a:pPr/>
              <a:t>6/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390525"/>
            <a:ext cx="2925762" cy="83216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390525"/>
            <a:ext cx="8624888" cy="83216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AB208AC-C283-4F3D-BDC6-3B3355A180C8}" type="datetimeFigureOut">
              <a:rPr lang="en-US" smtClean="0"/>
              <a:pPr/>
              <a:t>6/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3EC7B5D-813E-4064-A9E3-741A818F476D}"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Header Whit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16742" y="6784622"/>
            <a:ext cx="1666240" cy="2221653"/>
          </a:xfrm>
          <a:prstGeom prst="rect">
            <a:avLst/>
          </a:prstGeom>
        </p:spPr>
      </p:pic>
      <p:sp>
        <p:nvSpPr>
          <p:cNvPr id="13" name="Rectangle 12"/>
          <p:cNvSpPr/>
          <p:nvPr userDrawn="1"/>
        </p:nvSpPr>
        <p:spPr>
          <a:xfrm>
            <a:off x="65027" y="61931"/>
            <a:ext cx="12874752" cy="9623552"/>
          </a:xfrm>
          <a:prstGeom prst="rect">
            <a:avLst/>
          </a:prstGeom>
          <a:noFill/>
          <a:ln w="152400">
            <a:gradFill>
              <a:gsLst>
                <a:gs pos="0">
                  <a:schemeClr val="tx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5" name="Content Placeholder 2"/>
          <p:cNvSpPr>
            <a:spLocks noGrp="1"/>
          </p:cNvSpPr>
          <p:nvPr>
            <p:ph idx="1" hasCustomPrompt="1"/>
          </p:nvPr>
        </p:nvSpPr>
        <p:spPr>
          <a:xfrm>
            <a:off x="762816" y="2591155"/>
            <a:ext cx="9186364" cy="1034062"/>
          </a:xfrm>
        </p:spPr>
        <p:txBody>
          <a:bodyPr>
            <a:noAutofit/>
          </a:bodyPr>
          <a:lstStyle>
            <a:lvl1pPr marL="0" indent="0">
              <a:buFontTx/>
              <a:buNone/>
              <a:defRPr sz="5120" b="1" i="0">
                <a:solidFill>
                  <a:schemeClr val="tx2"/>
                </a:solidFill>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Headline goes here</a:t>
            </a:r>
          </a:p>
        </p:txBody>
      </p:sp>
      <p:sp>
        <p:nvSpPr>
          <p:cNvPr id="16" name="Content Placeholder 2"/>
          <p:cNvSpPr>
            <a:spLocks noGrp="1"/>
          </p:cNvSpPr>
          <p:nvPr>
            <p:ph idx="10" hasCustomPrompt="1"/>
          </p:nvPr>
        </p:nvSpPr>
        <p:spPr>
          <a:xfrm>
            <a:off x="762816" y="3625217"/>
            <a:ext cx="9186364" cy="1034062"/>
          </a:xfrm>
        </p:spPr>
        <p:txBody>
          <a:bodyPr>
            <a:normAutofit/>
          </a:bodyPr>
          <a:lstStyle>
            <a:lvl1pPr marL="0" indent="0">
              <a:buFontTx/>
              <a:buNone/>
              <a:defRPr sz="3413" b="0" i="0">
                <a:solidFill>
                  <a:schemeClr val="tx2"/>
                </a:solidFill>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Subhead goes here</a:t>
            </a:r>
          </a:p>
        </p:txBody>
      </p:sp>
      <p:cxnSp>
        <p:nvCxnSpPr>
          <p:cNvPr id="17" name="Straight Connector 16"/>
          <p:cNvCxnSpPr/>
          <p:nvPr userDrawn="1"/>
        </p:nvCxnSpPr>
        <p:spPr>
          <a:xfrm>
            <a:off x="751840" y="5177042"/>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sp>
        <p:nvSpPr>
          <p:cNvPr id="18" name="Content Placeholder 2"/>
          <p:cNvSpPr>
            <a:spLocks noGrp="1"/>
          </p:cNvSpPr>
          <p:nvPr>
            <p:ph idx="11" hasCustomPrompt="1"/>
          </p:nvPr>
        </p:nvSpPr>
        <p:spPr>
          <a:xfrm>
            <a:off x="785707" y="5913258"/>
            <a:ext cx="1530773" cy="489114"/>
          </a:xfrm>
        </p:spPr>
        <p:txBody>
          <a:bodyPr>
            <a:normAutofit/>
          </a:bodyPr>
          <a:lstStyle>
            <a:lvl1pPr marL="0" indent="0">
              <a:buFontTx/>
              <a:buNone/>
              <a:defRPr sz="1707" b="0" i="0">
                <a:solidFill>
                  <a:schemeClr val="tx2"/>
                </a:solidFill>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05.01.2017</a:t>
            </a:r>
          </a:p>
        </p:txBody>
      </p:sp>
    </p:spTree>
    <p:extLst>
      <p:ext uri="{BB962C8B-B14F-4D97-AF65-F5344CB8AC3E}">
        <p14:creationId xmlns:p14="http://schemas.microsoft.com/office/powerpoint/2010/main" val="432505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Photo-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9"/>
            <a:ext cx="13004800" cy="9752223"/>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16742" y="6791532"/>
            <a:ext cx="1667866" cy="2223821"/>
          </a:xfrm>
          <a:prstGeom prst="rect">
            <a:avLst/>
          </a:prstGeom>
        </p:spPr>
      </p:pic>
      <p:sp>
        <p:nvSpPr>
          <p:cNvPr id="14" name="Rectangle 13"/>
          <p:cNvSpPr/>
          <p:nvPr userDrawn="1"/>
        </p:nvSpPr>
        <p:spPr>
          <a:xfrm>
            <a:off x="65027" y="61931"/>
            <a:ext cx="12874752" cy="9623552"/>
          </a:xfrm>
          <a:prstGeom prst="rect">
            <a:avLst/>
          </a:prstGeom>
          <a:noFill/>
          <a:ln w="152400">
            <a:gradFill>
              <a:gsLst>
                <a:gs pos="0">
                  <a:schemeClr val="tx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5" name="Content Placeholder 2"/>
          <p:cNvSpPr>
            <a:spLocks noGrp="1"/>
          </p:cNvSpPr>
          <p:nvPr>
            <p:ph idx="1" hasCustomPrompt="1"/>
          </p:nvPr>
        </p:nvSpPr>
        <p:spPr>
          <a:xfrm>
            <a:off x="717974" y="2591155"/>
            <a:ext cx="6704278" cy="1034062"/>
          </a:xfrm>
        </p:spPr>
        <p:txBody>
          <a:bodyPr>
            <a:noAutofit/>
          </a:bodyPr>
          <a:lstStyle>
            <a:lvl1pPr marL="0" indent="0">
              <a:buFontTx/>
              <a:buNone/>
              <a:defRPr sz="5120" b="1" i="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Headline goes here</a:t>
            </a:r>
          </a:p>
        </p:txBody>
      </p:sp>
      <p:sp>
        <p:nvSpPr>
          <p:cNvPr id="16" name="Content Placeholder 2"/>
          <p:cNvSpPr>
            <a:spLocks noGrp="1"/>
          </p:cNvSpPr>
          <p:nvPr>
            <p:ph idx="10" hasCustomPrompt="1"/>
          </p:nvPr>
        </p:nvSpPr>
        <p:spPr>
          <a:xfrm>
            <a:off x="717973" y="3625217"/>
            <a:ext cx="7129242" cy="1034062"/>
          </a:xfrm>
        </p:spPr>
        <p:txBody>
          <a:bodyPr>
            <a:normAutofit/>
          </a:bodyPr>
          <a:lstStyle>
            <a:lvl1pPr marL="0" indent="0">
              <a:buFontTx/>
              <a:buNone/>
              <a:defRPr sz="3413" b="0" i="0" baseline="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a:t>Subhead, this </a:t>
            </a:r>
            <a:r>
              <a:rPr lang="en-US" dirty="0"/>
              <a:t>image is not editable</a:t>
            </a:r>
          </a:p>
        </p:txBody>
      </p:sp>
      <p:cxnSp>
        <p:nvCxnSpPr>
          <p:cNvPr id="17" name="Straight Connector 16"/>
          <p:cNvCxnSpPr/>
          <p:nvPr userDrawn="1"/>
        </p:nvCxnSpPr>
        <p:spPr>
          <a:xfrm>
            <a:off x="751840" y="5178567"/>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sp>
        <p:nvSpPr>
          <p:cNvPr id="18" name="Content Placeholder 2"/>
          <p:cNvSpPr>
            <a:spLocks noGrp="1"/>
          </p:cNvSpPr>
          <p:nvPr>
            <p:ph idx="11" hasCustomPrompt="1"/>
          </p:nvPr>
        </p:nvSpPr>
        <p:spPr>
          <a:xfrm>
            <a:off x="785707" y="5914783"/>
            <a:ext cx="1530773" cy="489114"/>
          </a:xfrm>
        </p:spPr>
        <p:txBody>
          <a:bodyPr>
            <a:normAutofit/>
          </a:bodyPr>
          <a:lstStyle>
            <a:lvl1pPr marL="0" indent="0">
              <a:buFontTx/>
              <a:buNone/>
              <a:defRPr sz="1707" b="0" i="0">
                <a:solidFill>
                  <a:schemeClr val="bg1"/>
                </a:solidFill>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05.01.2017</a:t>
            </a:r>
          </a:p>
        </p:txBody>
      </p:sp>
    </p:spTree>
    <p:extLst>
      <p:ext uri="{BB962C8B-B14F-4D97-AF65-F5344CB8AC3E}">
        <p14:creationId xmlns:p14="http://schemas.microsoft.com/office/powerpoint/2010/main" val="32726083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hoto-2">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89"/>
            <a:ext cx="13004800" cy="9752223"/>
          </a:xfrm>
          <a:prstGeom prst="rect">
            <a:avLst/>
          </a:prstGeom>
        </p:spPr>
      </p:pic>
      <p:sp>
        <p:nvSpPr>
          <p:cNvPr id="7" name="Content Placeholder 2"/>
          <p:cNvSpPr>
            <a:spLocks noGrp="1"/>
          </p:cNvSpPr>
          <p:nvPr>
            <p:ph idx="1" hasCustomPrompt="1"/>
          </p:nvPr>
        </p:nvSpPr>
        <p:spPr>
          <a:xfrm>
            <a:off x="717974" y="2658888"/>
            <a:ext cx="9541040" cy="1034062"/>
          </a:xfrm>
        </p:spPr>
        <p:txBody>
          <a:bodyPr>
            <a:noAutofit/>
          </a:bodyPr>
          <a:lstStyle>
            <a:lvl1pPr marL="0" indent="0">
              <a:buFontTx/>
              <a:buNone/>
              <a:defRPr sz="5120" b="1" i="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Headline goes here</a:t>
            </a:r>
          </a:p>
        </p:txBody>
      </p:sp>
      <p:sp>
        <p:nvSpPr>
          <p:cNvPr id="8" name="Content Placeholder 2"/>
          <p:cNvSpPr>
            <a:spLocks noGrp="1"/>
          </p:cNvSpPr>
          <p:nvPr>
            <p:ph idx="10" hasCustomPrompt="1"/>
          </p:nvPr>
        </p:nvSpPr>
        <p:spPr>
          <a:xfrm>
            <a:off x="717974" y="3692950"/>
            <a:ext cx="9541040" cy="1034062"/>
          </a:xfrm>
        </p:spPr>
        <p:txBody>
          <a:bodyPr>
            <a:normAutofit/>
          </a:bodyPr>
          <a:lstStyle>
            <a:lvl1pPr marL="0" indent="0">
              <a:buFontTx/>
              <a:buNone/>
              <a:defRPr sz="3413" b="0" i="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Subhead, this image is not editable</a:t>
            </a:r>
          </a:p>
        </p:txBody>
      </p:sp>
      <p:cxnSp>
        <p:nvCxnSpPr>
          <p:cNvPr id="11" name="Straight Connector 10"/>
          <p:cNvCxnSpPr/>
          <p:nvPr userDrawn="1"/>
        </p:nvCxnSpPr>
        <p:spPr>
          <a:xfrm>
            <a:off x="751840" y="5178567"/>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16742" y="6791532"/>
            <a:ext cx="1667866" cy="2223821"/>
          </a:xfrm>
          <a:prstGeom prst="rect">
            <a:avLst/>
          </a:prstGeom>
        </p:spPr>
      </p:pic>
      <p:sp>
        <p:nvSpPr>
          <p:cNvPr id="17" name="Content Placeholder 2"/>
          <p:cNvSpPr>
            <a:spLocks noGrp="1"/>
          </p:cNvSpPr>
          <p:nvPr>
            <p:ph idx="11" hasCustomPrompt="1"/>
          </p:nvPr>
        </p:nvSpPr>
        <p:spPr>
          <a:xfrm>
            <a:off x="785707" y="5914783"/>
            <a:ext cx="1530773" cy="489114"/>
          </a:xfrm>
        </p:spPr>
        <p:txBody>
          <a:bodyPr>
            <a:normAutofit/>
          </a:bodyPr>
          <a:lstStyle>
            <a:lvl1pPr marL="0" indent="0">
              <a:buFontTx/>
              <a:buNone/>
              <a:defRPr sz="1707" b="0" i="0">
                <a:solidFill>
                  <a:schemeClr val="bg1"/>
                </a:solidFill>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05.01.2017</a:t>
            </a:r>
          </a:p>
        </p:txBody>
      </p:sp>
      <p:sp>
        <p:nvSpPr>
          <p:cNvPr id="18" name="Rectangle 17"/>
          <p:cNvSpPr/>
          <p:nvPr userDrawn="1"/>
        </p:nvSpPr>
        <p:spPr>
          <a:xfrm>
            <a:off x="65027" y="61931"/>
            <a:ext cx="12874752" cy="9623552"/>
          </a:xfrm>
          <a:prstGeom prst="rect">
            <a:avLst/>
          </a:prstGeom>
          <a:noFill/>
          <a:ln w="152400">
            <a:gradFill>
              <a:gsLst>
                <a:gs pos="0">
                  <a:schemeClr val="tx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Tree>
    <p:extLst>
      <p:ext uri="{BB962C8B-B14F-4D97-AF65-F5344CB8AC3E}">
        <p14:creationId xmlns:p14="http://schemas.microsoft.com/office/powerpoint/2010/main" val="1919482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717973" y="2658888"/>
            <a:ext cx="9425771" cy="1034062"/>
          </a:xfrm>
        </p:spPr>
        <p:txBody>
          <a:bodyPr>
            <a:noAutofit/>
          </a:bodyPr>
          <a:lstStyle>
            <a:lvl1pPr marL="0" indent="0">
              <a:buFontTx/>
              <a:buNone/>
              <a:defRPr sz="5120" b="1" i="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Headline goes here</a:t>
            </a:r>
          </a:p>
        </p:txBody>
      </p:sp>
      <p:sp>
        <p:nvSpPr>
          <p:cNvPr id="7" name="Content Placeholder 2"/>
          <p:cNvSpPr>
            <a:spLocks noGrp="1"/>
          </p:cNvSpPr>
          <p:nvPr>
            <p:ph idx="10" hasCustomPrompt="1"/>
          </p:nvPr>
        </p:nvSpPr>
        <p:spPr>
          <a:xfrm>
            <a:off x="717973" y="3692950"/>
            <a:ext cx="9425771" cy="1034062"/>
          </a:xfrm>
        </p:spPr>
        <p:txBody>
          <a:bodyPr>
            <a:normAutofit/>
          </a:bodyPr>
          <a:lstStyle>
            <a:lvl1pPr marL="0" indent="0">
              <a:buFontTx/>
              <a:buNone/>
              <a:defRPr sz="3413" b="0" i="0">
                <a:solidFill>
                  <a:schemeClr val="bg1"/>
                </a:solidFill>
                <a:effectLst>
                  <a:outerShdw blurRad="50800" dist="38100" dir="2700000" algn="tl" rotWithShape="0">
                    <a:prstClr val="black">
                      <a:alpha val="40000"/>
                    </a:prstClr>
                  </a:outerShdw>
                </a:effectLst>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Subhead, this image is editable</a:t>
            </a:r>
          </a:p>
        </p:txBody>
      </p:sp>
      <p:sp>
        <p:nvSpPr>
          <p:cNvPr id="10" name="Content Placeholder 2"/>
          <p:cNvSpPr>
            <a:spLocks noGrp="1"/>
          </p:cNvSpPr>
          <p:nvPr>
            <p:ph idx="11" hasCustomPrompt="1"/>
          </p:nvPr>
        </p:nvSpPr>
        <p:spPr>
          <a:xfrm>
            <a:off x="785707" y="5914783"/>
            <a:ext cx="1530773" cy="489114"/>
          </a:xfrm>
        </p:spPr>
        <p:txBody>
          <a:bodyPr>
            <a:normAutofit/>
          </a:bodyPr>
          <a:lstStyle>
            <a:lvl1pPr marL="0" indent="0">
              <a:buFontTx/>
              <a:buNone/>
              <a:defRPr sz="1707" b="0" i="0">
                <a:solidFill>
                  <a:schemeClr val="bg1"/>
                </a:solidFill>
                <a:latin typeface="Arial" charset="0"/>
                <a:ea typeface="Arial" charset="0"/>
                <a:cs typeface="Arial" charset="0"/>
              </a:defRPr>
            </a:lvl1pPr>
            <a:lvl2pPr marL="487695" indent="0">
              <a:buFontTx/>
              <a:buNone/>
              <a:defRPr/>
            </a:lvl2pPr>
            <a:lvl3pPr marL="975390" indent="0">
              <a:buFontTx/>
              <a:buNone/>
              <a:defRPr/>
            </a:lvl3pPr>
            <a:lvl4pPr marL="1463086" indent="0">
              <a:buFontTx/>
              <a:buNone/>
              <a:defRPr/>
            </a:lvl4pPr>
            <a:lvl5pPr marL="1950781" indent="0">
              <a:buFontTx/>
              <a:buNone/>
              <a:defRPr/>
            </a:lvl5pPr>
          </a:lstStyle>
          <a:p>
            <a:pPr lvl="0"/>
            <a:r>
              <a:rPr lang="en-US" dirty="0"/>
              <a:t>05.01.2017</a:t>
            </a:r>
          </a:p>
        </p:txBody>
      </p:sp>
    </p:spTree>
    <p:extLst>
      <p:ext uri="{BB962C8B-B14F-4D97-AF65-F5344CB8AC3E}">
        <p14:creationId xmlns:p14="http://schemas.microsoft.com/office/powerpoint/2010/main" val="1727579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Gray">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57141" y="191975"/>
            <a:ext cx="12699187" cy="77037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2" name="Title 1"/>
          <p:cNvSpPr>
            <a:spLocks noGrp="1"/>
          </p:cNvSpPr>
          <p:nvPr>
            <p:ph type="title" hasCustomPrompt="1"/>
          </p:nvPr>
        </p:nvSpPr>
        <p:spPr>
          <a:xfrm>
            <a:off x="721766" y="2616443"/>
            <a:ext cx="11216640" cy="1037288"/>
          </a:xfrm>
        </p:spPr>
        <p:txBody>
          <a:bodyPr anchor="b">
            <a:normAutofit/>
          </a:bodyPr>
          <a:lstStyle>
            <a:lvl1pPr>
              <a:defRPr sz="4480" baseline="0">
                <a:solidFill>
                  <a:schemeClr val="bg1"/>
                </a:solidFill>
              </a:defRPr>
            </a:lvl1pPr>
          </a:lstStyle>
          <a:p>
            <a:r>
              <a:rPr lang="en-US" dirty="0"/>
              <a:t>Divider side headline here</a:t>
            </a:r>
          </a:p>
        </p:txBody>
      </p:sp>
      <p:sp>
        <p:nvSpPr>
          <p:cNvPr id="3" name="Text Placeholder 2"/>
          <p:cNvSpPr>
            <a:spLocks noGrp="1"/>
          </p:cNvSpPr>
          <p:nvPr>
            <p:ph type="body" idx="1" hasCustomPrompt="1"/>
          </p:nvPr>
        </p:nvSpPr>
        <p:spPr>
          <a:xfrm>
            <a:off x="721766" y="3671794"/>
            <a:ext cx="11216640" cy="817960"/>
          </a:xfrm>
        </p:spPr>
        <p:txBody>
          <a:bodyPr>
            <a:normAutofit/>
          </a:bodyPr>
          <a:lstStyle>
            <a:lvl1pPr marL="0" indent="0">
              <a:buNone/>
              <a:defRPr sz="3413" baseline="0">
                <a:solidFill>
                  <a:schemeClr val="bg1"/>
                </a:solidFill>
              </a:defRPr>
            </a:lvl1pPr>
            <a:lvl2pPr marL="487695" indent="0">
              <a:buNone/>
              <a:defRPr sz="2133">
                <a:solidFill>
                  <a:schemeClr val="tx1">
                    <a:tint val="75000"/>
                  </a:schemeClr>
                </a:solidFill>
              </a:defRPr>
            </a:lvl2pPr>
            <a:lvl3pPr marL="975390" indent="0">
              <a:buNone/>
              <a:defRPr sz="1920">
                <a:solidFill>
                  <a:schemeClr val="tx1">
                    <a:tint val="75000"/>
                  </a:schemeClr>
                </a:solidFill>
              </a:defRPr>
            </a:lvl3pPr>
            <a:lvl4pPr marL="1463086" indent="0">
              <a:buNone/>
              <a:defRPr sz="1707">
                <a:solidFill>
                  <a:schemeClr val="tx1">
                    <a:tint val="75000"/>
                  </a:schemeClr>
                </a:solidFill>
              </a:defRPr>
            </a:lvl4pPr>
            <a:lvl5pPr marL="1950781" indent="0">
              <a:buNone/>
              <a:defRPr sz="1707">
                <a:solidFill>
                  <a:schemeClr val="tx1">
                    <a:tint val="75000"/>
                  </a:schemeClr>
                </a:solidFill>
              </a:defRPr>
            </a:lvl5pPr>
            <a:lvl6pPr marL="2438476" indent="0">
              <a:buNone/>
              <a:defRPr sz="1707">
                <a:solidFill>
                  <a:schemeClr val="tx1">
                    <a:tint val="75000"/>
                  </a:schemeClr>
                </a:solidFill>
              </a:defRPr>
            </a:lvl6pPr>
            <a:lvl7pPr marL="2926171" indent="0">
              <a:buNone/>
              <a:defRPr sz="1707">
                <a:solidFill>
                  <a:schemeClr val="tx1">
                    <a:tint val="75000"/>
                  </a:schemeClr>
                </a:solidFill>
              </a:defRPr>
            </a:lvl7pPr>
            <a:lvl8pPr marL="3413867" indent="0">
              <a:buNone/>
              <a:defRPr sz="1707">
                <a:solidFill>
                  <a:schemeClr val="tx1">
                    <a:tint val="75000"/>
                  </a:schemeClr>
                </a:solidFill>
              </a:defRPr>
            </a:lvl8pPr>
            <a:lvl9pPr marL="3901562" indent="0">
              <a:buNone/>
              <a:defRPr sz="1707">
                <a:solidFill>
                  <a:schemeClr val="tx1">
                    <a:tint val="75000"/>
                  </a:schemeClr>
                </a:solidFill>
              </a:defRPr>
            </a:lvl9pPr>
          </a:lstStyle>
          <a:p>
            <a:pPr lvl="0"/>
            <a:r>
              <a:rPr lang="en-US" dirty="0"/>
              <a:t>Divider slide subhead here</a:t>
            </a:r>
          </a:p>
        </p:txBody>
      </p:sp>
      <p:cxnSp>
        <p:nvCxnSpPr>
          <p:cNvPr id="8" name="Straight Connector 7"/>
          <p:cNvCxnSpPr/>
          <p:nvPr userDrawn="1"/>
        </p:nvCxnSpPr>
        <p:spPr>
          <a:xfrm>
            <a:off x="751840" y="5178567"/>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213" y="7982153"/>
            <a:ext cx="12722353" cy="1615538"/>
          </a:xfrm>
          <a:prstGeom prst="rect">
            <a:avLst/>
          </a:prstGeom>
        </p:spPr>
      </p:pic>
    </p:spTree>
    <p:extLst>
      <p:ext uri="{BB962C8B-B14F-4D97-AF65-F5344CB8AC3E}">
        <p14:creationId xmlns:p14="http://schemas.microsoft.com/office/powerpoint/2010/main" val="2275430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Blu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157141" y="191975"/>
            <a:ext cx="12699187" cy="7703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213" y="7982153"/>
            <a:ext cx="12722353" cy="1615538"/>
          </a:xfrm>
          <a:prstGeom prst="rect">
            <a:avLst/>
          </a:prstGeom>
        </p:spPr>
      </p:pic>
      <p:sp>
        <p:nvSpPr>
          <p:cNvPr id="17" name="Text Placeholder 2"/>
          <p:cNvSpPr>
            <a:spLocks noGrp="1"/>
          </p:cNvSpPr>
          <p:nvPr>
            <p:ph type="body" idx="1" hasCustomPrompt="1"/>
          </p:nvPr>
        </p:nvSpPr>
        <p:spPr>
          <a:xfrm>
            <a:off x="721766" y="3671794"/>
            <a:ext cx="11216640" cy="817960"/>
          </a:xfrm>
        </p:spPr>
        <p:txBody>
          <a:bodyPr>
            <a:normAutofit/>
          </a:bodyPr>
          <a:lstStyle>
            <a:lvl1pPr marL="0" indent="0">
              <a:buNone/>
              <a:defRPr sz="3413" baseline="0">
                <a:solidFill>
                  <a:schemeClr val="bg1"/>
                </a:solidFill>
              </a:defRPr>
            </a:lvl1pPr>
            <a:lvl2pPr marL="487695" indent="0">
              <a:buNone/>
              <a:defRPr sz="2133">
                <a:solidFill>
                  <a:schemeClr val="tx1">
                    <a:tint val="75000"/>
                  </a:schemeClr>
                </a:solidFill>
              </a:defRPr>
            </a:lvl2pPr>
            <a:lvl3pPr marL="975390" indent="0">
              <a:buNone/>
              <a:defRPr sz="1920">
                <a:solidFill>
                  <a:schemeClr val="tx1">
                    <a:tint val="75000"/>
                  </a:schemeClr>
                </a:solidFill>
              </a:defRPr>
            </a:lvl3pPr>
            <a:lvl4pPr marL="1463086" indent="0">
              <a:buNone/>
              <a:defRPr sz="1707">
                <a:solidFill>
                  <a:schemeClr val="tx1">
                    <a:tint val="75000"/>
                  </a:schemeClr>
                </a:solidFill>
              </a:defRPr>
            </a:lvl4pPr>
            <a:lvl5pPr marL="1950781" indent="0">
              <a:buNone/>
              <a:defRPr sz="1707">
                <a:solidFill>
                  <a:schemeClr val="tx1">
                    <a:tint val="75000"/>
                  </a:schemeClr>
                </a:solidFill>
              </a:defRPr>
            </a:lvl5pPr>
            <a:lvl6pPr marL="2438476" indent="0">
              <a:buNone/>
              <a:defRPr sz="1707">
                <a:solidFill>
                  <a:schemeClr val="tx1">
                    <a:tint val="75000"/>
                  </a:schemeClr>
                </a:solidFill>
              </a:defRPr>
            </a:lvl6pPr>
            <a:lvl7pPr marL="2926171" indent="0">
              <a:buNone/>
              <a:defRPr sz="1707">
                <a:solidFill>
                  <a:schemeClr val="tx1">
                    <a:tint val="75000"/>
                  </a:schemeClr>
                </a:solidFill>
              </a:defRPr>
            </a:lvl7pPr>
            <a:lvl8pPr marL="3413867" indent="0">
              <a:buNone/>
              <a:defRPr sz="1707">
                <a:solidFill>
                  <a:schemeClr val="tx1">
                    <a:tint val="75000"/>
                  </a:schemeClr>
                </a:solidFill>
              </a:defRPr>
            </a:lvl8pPr>
            <a:lvl9pPr marL="3901562" indent="0">
              <a:buNone/>
              <a:defRPr sz="1707">
                <a:solidFill>
                  <a:schemeClr val="tx1">
                    <a:tint val="75000"/>
                  </a:schemeClr>
                </a:solidFill>
              </a:defRPr>
            </a:lvl9pPr>
          </a:lstStyle>
          <a:p>
            <a:pPr lvl="0"/>
            <a:r>
              <a:rPr lang="en-US" dirty="0"/>
              <a:t>Divider slide subhead here</a:t>
            </a:r>
          </a:p>
        </p:txBody>
      </p:sp>
      <p:sp>
        <p:nvSpPr>
          <p:cNvPr id="19" name="Title 1"/>
          <p:cNvSpPr>
            <a:spLocks noGrp="1"/>
          </p:cNvSpPr>
          <p:nvPr>
            <p:ph type="title" hasCustomPrompt="1"/>
          </p:nvPr>
        </p:nvSpPr>
        <p:spPr>
          <a:xfrm>
            <a:off x="721766" y="2616443"/>
            <a:ext cx="11216640" cy="1037288"/>
          </a:xfrm>
        </p:spPr>
        <p:txBody>
          <a:bodyPr anchor="b">
            <a:normAutofit/>
          </a:bodyPr>
          <a:lstStyle>
            <a:lvl1pPr>
              <a:defRPr sz="4480" baseline="0">
                <a:solidFill>
                  <a:schemeClr val="bg1"/>
                </a:solidFill>
              </a:defRPr>
            </a:lvl1pPr>
          </a:lstStyle>
          <a:p>
            <a:r>
              <a:rPr lang="en-US" dirty="0"/>
              <a:t>Divider side headline here</a:t>
            </a:r>
          </a:p>
        </p:txBody>
      </p:sp>
      <p:cxnSp>
        <p:nvCxnSpPr>
          <p:cNvPr id="20" name="Straight Connector 19"/>
          <p:cNvCxnSpPr/>
          <p:nvPr userDrawn="1"/>
        </p:nvCxnSpPr>
        <p:spPr>
          <a:xfrm>
            <a:off x="751840" y="5178567"/>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4945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Bullet One Photo">
    <p:spTree>
      <p:nvGrpSpPr>
        <p:cNvPr id="1" name=""/>
        <p:cNvGrpSpPr/>
        <p:nvPr/>
      </p:nvGrpSpPr>
      <p:grpSpPr>
        <a:xfrm>
          <a:off x="0" y="0"/>
          <a:ext cx="0" cy="0"/>
          <a:chOff x="0" y="0"/>
          <a:chExt cx="0" cy="0"/>
        </a:xfrm>
      </p:grpSpPr>
      <p:sp>
        <p:nvSpPr>
          <p:cNvPr id="6" name="Rectangle 5"/>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2" name="Rectangle 11"/>
          <p:cNvSpPr/>
          <p:nvPr userDrawn="1"/>
        </p:nvSpPr>
        <p:spPr>
          <a:xfrm>
            <a:off x="6162393" y="6754424"/>
            <a:ext cx="732860" cy="9771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4" name="Picture Placeholder 3"/>
          <p:cNvSpPr>
            <a:spLocks noGrp="1"/>
          </p:cNvSpPr>
          <p:nvPr>
            <p:ph type="pic" sz="quarter" idx="13"/>
          </p:nvPr>
        </p:nvSpPr>
        <p:spPr>
          <a:xfrm>
            <a:off x="6502400" y="2654299"/>
            <a:ext cx="6041813" cy="4587804"/>
          </a:xfrm>
        </p:spPr>
        <p:txBody>
          <a:bodyPr/>
          <a:lstStyle>
            <a:lvl1pPr marL="0" indent="0">
              <a:buNone/>
              <a:defRPr/>
            </a:lvl1pPr>
          </a:lstStyle>
          <a:p>
            <a:r>
              <a:rPr lang="en-US" dirty="0"/>
              <a:t>Click icon to add picture</a:t>
            </a:r>
          </a:p>
        </p:txBody>
      </p:sp>
      <p:sp>
        <p:nvSpPr>
          <p:cNvPr id="15" name="Text Placeholder 14"/>
          <p:cNvSpPr>
            <a:spLocks noGrp="1"/>
          </p:cNvSpPr>
          <p:nvPr>
            <p:ph type="body" sz="quarter" idx="14" hasCustomPrompt="1"/>
          </p:nvPr>
        </p:nvSpPr>
        <p:spPr>
          <a:xfrm>
            <a:off x="6981954" y="7453191"/>
            <a:ext cx="4538133" cy="553737"/>
          </a:xfrm>
        </p:spPr>
        <p:txBody>
          <a:bodyPr>
            <a:normAutofit/>
          </a:bodyPr>
          <a:lstStyle>
            <a:lvl1pPr marL="0" indent="0">
              <a:buNone/>
              <a:defRPr sz="1493" baseline="0">
                <a:solidFill>
                  <a:schemeClr val="tx2"/>
                </a:solidFill>
              </a:defRPr>
            </a:lvl1pPr>
          </a:lstStyle>
          <a:p>
            <a:pPr lvl="0"/>
            <a:r>
              <a:rPr lang="en-US" dirty="0"/>
              <a:t>Photo Caption</a:t>
            </a:r>
          </a:p>
        </p:txBody>
      </p:sp>
      <p:sp>
        <p:nvSpPr>
          <p:cNvPr id="17" name="Text Placeholder 16"/>
          <p:cNvSpPr>
            <a:spLocks noGrp="1"/>
          </p:cNvSpPr>
          <p:nvPr>
            <p:ph type="body" sz="quarter" idx="15"/>
          </p:nvPr>
        </p:nvSpPr>
        <p:spPr>
          <a:xfrm>
            <a:off x="541867" y="3408609"/>
            <a:ext cx="5337387" cy="3684693"/>
          </a:xfrm>
        </p:spPr>
        <p:txBody>
          <a:bodyPr>
            <a:normAutofit/>
          </a:bodyPr>
          <a:lstStyle>
            <a:lvl1pPr>
              <a:lnSpc>
                <a:spcPct val="100000"/>
              </a:lnSpc>
              <a:spcAft>
                <a:spcPts val="640"/>
              </a:spcAft>
              <a:buClr>
                <a:schemeClr val="accent1"/>
              </a:buClr>
              <a:buSzPct val="150000"/>
              <a:defRPr sz="1707">
                <a:solidFill>
                  <a:srgbClr val="3B4559"/>
                </a:solidFill>
              </a:defRPr>
            </a:lvl1pPr>
            <a:lvl2pPr marL="731543" indent="-243848">
              <a:lnSpc>
                <a:spcPct val="100000"/>
              </a:lnSpc>
              <a:spcAft>
                <a:spcPts val="640"/>
              </a:spcAft>
              <a:buClr>
                <a:schemeClr val="tx2"/>
              </a:buClr>
              <a:buSzPct val="100000"/>
              <a:buFont typeface=".AppleSystemUIFont" charset="-120"/>
              <a:buChar char="–"/>
              <a:defRPr sz="1493">
                <a:solidFill>
                  <a:srgbClr val="3B4559"/>
                </a:solidFill>
              </a:defRPr>
            </a:lvl2pPr>
            <a:lvl3pPr marL="1219238" indent="-243848">
              <a:lnSpc>
                <a:spcPct val="100000"/>
              </a:lnSpc>
              <a:spcAft>
                <a:spcPts val="640"/>
              </a:spcAft>
              <a:buClr>
                <a:schemeClr val="tx2"/>
              </a:buClr>
              <a:buSzPct val="100000"/>
              <a:buFont typeface=".AppleSystemUIFont" charset="-120"/>
              <a:buChar char="–"/>
              <a:defRPr sz="1493">
                <a:solidFill>
                  <a:srgbClr val="3B4559"/>
                </a:solidFill>
              </a:defRPr>
            </a:lvl3pPr>
            <a:lvl4pPr marL="1706933" indent="-243848">
              <a:lnSpc>
                <a:spcPct val="100000"/>
              </a:lnSpc>
              <a:spcAft>
                <a:spcPts val="640"/>
              </a:spcAft>
              <a:buClr>
                <a:schemeClr val="tx2"/>
              </a:buClr>
              <a:buSzPct val="100000"/>
              <a:buFont typeface=".AppleSystemUIFont" charset="-120"/>
              <a:buChar char="–"/>
              <a:defRPr sz="1493">
                <a:solidFill>
                  <a:srgbClr val="3B4559"/>
                </a:solidFill>
              </a:defRPr>
            </a:lvl4pPr>
            <a:lvl5pPr marL="2194629" indent="-243848">
              <a:lnSpc>
                <a:spcPct val="100000"/>
              </a:lnSpc>
              <a:spcAft>
                <a:spcPts val="640"/>
              </a:spcAft>
              <a:buClr>
                <a:schemeClr val="tx2"/>
              </a:buClr>
              <a:buSzPct val="100000"/>
              <a:buFont typeface=".AppleSystemUIFont" charset="-120"/>
              <a:buChar char="–"/>
              <a:defRPr sz="1493">
                <a:solidFill>
                  <a:srgbClr val="3B45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6" hasCustomPrompt="1"/>
          </p:nvPr>
        </p:nvSpPr>
        <p:spPr>
          <a:xfrm>
            <a:off x="541867" y="2654299"/>
            <a:ext cx="5337387" cy="577991"/>
          </a:xfrm>
        </p:spPr>
        <p:txBody>
          <a:bodyPr>
            <a:noAutofit/>
          </a:bodyPr>
          <a:lstStyle>
            <a:lvl1pPr marL="0" indent="0">
              <a:buNone/>
              <a:defRPr sz="1707" b="1" baseline="0">
                <a:solidFill>
                  <a:srgbClr val="3B4559"/>
                </a:solidFill>
              </a:defRPr>
            </a:lvl1pPr>
          </a:lstStyle>
          <a:p>
            <a:pPr lvl="0"/>
            <a:r>
              <a:rPr lang="en-US" dirty="0"/>
              <a:t>Bullet List Subhead</a:t>
            </a:r>
          </a:p>
        </p:txBody>
      </p:sp>
      <p:sp>
        <p:nvSpPr>
          <p:cNvPr id="21"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sp>
        <p:nvSpPr>
          <p:cNvPr id="13" name="Footer Placeholder 4"/>
          <p:cNvSpPr>
            <a:spLocks noGrp="1"/>
          </p:cNvSpPr>
          <p:nvPr>
            <p:ph type="ftr" sz="quarter" idx="11"/>
          </p:nvPr>
        </p:nvSpPr>
        <p:spPr>
          <a:xfrm>
            <a:off x="5786257" y="9040142"/>
            <a:ext cx="1432286" cy="713458"/>
          </a:xfrm>
          <a:ln>
            <a:noFill/>
          </a:ln>
        </p:spPr>
        <p:txBody>
          <a:bodyPr anchor="ctr"/>
          <a:lstStyle>
            <a:lvl1pPr algn="ctr">
              <a:defRPr sz="960">
                <a:solidFill>
                  <a:schemeClr val="bg1"/>
                </a:solidFill>
              </a:defRPr>
            </a:lvl1pPr>
          </a:lstStyle>
          <a:p>
            <a:endParaRPr lang="en-US" dirty="0"/>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18" name="Title 1"/>
          <p:cNvSpPr>
            <a:spLocks noGrp="1"/>
          </p:cNvSpPr>
          <p:nvPr>
            <p:ph type="title" hasCustomPrompt="1"/>
          </p:nvPr>
        </p:nvSpPr>
        <p:spPr>
          <a:xfrm>
            <a:off x="650240" y="439099"/>
            <a:ext cx="11403829" cy="969906"/>
          </a:xfrm>
        </p:spPr>
        <p:txBody>
          <a:bodyPr anchor="b" anchorCtr="0"/>
          <a:lstStyle>
            <a:lvl1pPr>
              <a:defRPr baseline="0">
                <a:solidFill>
                  <a:schemeClr val="tx2"/>
                </a:solidFill>
              </a:defRPr>
            </a:lvl1pPr>
          </a:lstStyle>
          <a:p>
            <a:r>
              <a:rPr lang="en-US" dirty="0"/>
              <a:t>Bullet Slide with Image</a:t>
            </a:r>
          </a:p>
        </p:txBody>
      </p:sp>
      <p:cxnSp>
        <p:nvCxnSpPr>
          <p:cNvPr id="20" name="Straight Connector 19"/>
          <p:cNvCxnSpPr/>
          <p:nvPr userDrawn="1"/>
        </p:nvCxnSpPr>
        <p:spPr>
          <a:xfrm>
            <a:off x="594187" y="1705330"/>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977299"/>
      </p:ext>
    </p:extLst>
  </p:cSld>
  <p:clrMapOvr>
    <a:masterClrMapping/>
  </p:clrMapOvr>
  <p:extLst mod="1">
    <p:ext uri="{DCECCB84-F9BA-43D5-87BE-67443E8EF086}">
      <p15:sldGuideLst xmlns:p15="http://schemas.microsoft.com/office/powerpoint/2012/main">
        <p15:guide id="1" orient="horz" pos="1176">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ructure Slide Orange">
    <p:spTree>
      <p:nvGrpSpPr>
        <p:cNvPr id="1" name=""/>
        <p:cNvGrpSpPr/>
        <p:nvPr/>
      </p:nvGrpSpPr>
      <p:grpSpPr>
        <a:xfrm>
          <a:off x="0" y="0"/>
          <a:ext cx="0" cy="0"/>
          <a:chOff x="0" y="0"/>
          <a:chExt cx="0" cy="0"/>
        </a:xfrm>
      </p:grpSpPr>
      <p:sp>
        <p:nvSpPr>
          <p:cNvPr id="19" name="Text Placeholder 2"/>
          <p:cNvSpPr>
            <a:spLocks noGrp="1"/>
          </p:cNvSpPr>
          <p:nvPr>
            <p:ph type="body" sz="quarter" idx="22" hasCustomPrompt="1"/>
          </p:nvPr>
        </p:nvSpPr>
        <p:spPr>
          <a:xfrm>
            <a:off x="-126997" y="3505201"/>
            <a:ext cx="13208000" cy="533400"/>
          </a:xfrm>
          <a:prstGeom prst="rect">
            <a:avLst/>
          </a:prstGeom>
          <a:ln w="76200" cmpd="sng">
            <a:solidFill>
              <a:srgbClr val="FFFFFF"/>
            </a:solidFill>
          </a:ln>
          <a:effectLst/>
        </p:spPr>
        <p:txBody>
          <a:bodyPr vert="horz" lIns="91036" tIns="45503" rIns="91036" bIns="45503"/>
          <a:lstStyle>
            <a:lvl1pPr>
              <a:defRPr baseline="0">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63600" y="2438400"/>
            <a:ext cx="2590800" cy="2590800"/>
          </a:xfrm>
          <a:prstGeom prst="ellipse">
            <a:avLst/>
          </a:prstGeom>
          <a:solidFill>
            <a:srgbClr val="92D050"/>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3" name="Text Placeholder 21"/>
          <p:cNvSpPr>
            <a:spLocks noGrp="1"/>
          </p:cNvSpPr>
          <p:nvPr>
            <p:ph type="body" sz="quarter" idx="17" hasCustomPrompt="1"/>
          </p:nvPr>
        </p:nvSpPr>
        <p:spPr>
          <a:xfrm>
            <a:off x="5130800" y="2438400"/>
            <a:ext cx="2590800" cy="25908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4" name="Text Placeholder 21"/>
          <p:cNvSpPr>
            <a:spLocks noGrp="1"/>
          </p:cNvSpPr>
          <p:nvPr>
            <p:ph type="body" sz="quarter" idx="18" hasCustomPrompt="1"/>
          </p:nvPr>
        </p:nvSpPr>
        <p:spPr>
          <a:xfrm>
            <a:off x="9398000" y="2438400"/>
            <a:ext cx="2590800" cy="2590800"/>
          </a:xfrm>
          <a:prstGeom prst="ellipse">
            <a:avLst/>
          </a:prstGeom>
          <a:solidFill>
            <a:schemeClr val="tx1">
              <a:lumMod val="65000"/>
              <a:lumOff val="35000"/>
            </a:schemeClr>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8636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1" name="Text Placeholder 9"/>
          <p:cNvSpPr>
            <a:spLocks noGrp="1"/>
          </p:cNvSpPr>
          <p:nvPr>
            <p:ph type="body" sz="quarter" idx="11" hasCustomPrompt="1"/>
          </p:nvPr>
        </p:nvSpPr>
        <p:spPr>
          <a:xfrm>
            <a:off x="51308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2" name="Text Placeholder 9"/>
          <p:cNvSpPr>
            <a:spLocks noGrp="1"/>
          </p:cNvSpPr>
          <p:nvPr>
            <p:ph type="body" sz="quarter" idx="12" hasCustomPrompt="1"/>
          </p:nvPr>
        </p:nvSpPr>
        <p:spPr>
          <a:xfrm>
            <a:off x="93980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8636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ONE</a:t>
            </a:r>
          </a:p>
        </p:txBody>
      </p:sp>
      <p:sp>
        <p:nvSpPr>
          <p:cNvPr id="15" name="Text Placeholder 13"/>
          <p:cNvSpPr>
            <a:spLocks noGrp="1"/>
          </p:cNvSpPr>
          <p:nvPr>
            <p:ph type="body" sz="quarter" idx="14" hasCustomPrompt="1"/>
          </p:nvPr>
        </p:nvSpPr>
        <p:spPr>
          <a:xfrm>
            <a:off x="51308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WO</a:t>
            </a:r>
          </a:p>
        </p:txBody>
      </p:sp>
      <p:sp>
        <p:nvSpPr>
          <p:cNvPr id="16" name="Text Placeholder 13"/>
          <p:cNvSpPr>
            <a:spLocks noGrp="1"/>
          </p:cNvSpPr>
          <p:nvPr>
            <p:ph type="body" sz="quarter" idx="15" hasCustomPrompt="1"/>
          </p:nvPr>
        </p:nvSpPr>
        <p:spPr>
          <a:xfrm>
            <a:off x="9321801" y="6172200"/>
            <a:ext cx="28956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HREE</a:t>
            </a:r>
          </a:p>
        </p:txBody>
      </p:sp>
      <p:sp>
        <p:nvSpPr>
          <p:cNvPr id="13" name="Text Placeholder 13"/>
          <p:cNvSpPr>
            <a:spLocks noGrp="1"/>
          </p:cNvSpPr>
          <p:nvPr>
            <p:ph type="body" sz="quarter" idx="19" hasCustomPrompt="1"/>
          </p:nvPr>
        </p:nvSpPr>
        <p:spPr>
          <a:xfrm>
            <a:off x="8636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1</a:t>
            </a:r>
          </a:p>
        </p:txBody>
      </p:sp>
      <p:sp>
        <p:nvSpPr>
          <p:cNvPr id="17" name="Text Placeholder 13"/>
          <p:cNvSpPr>
            <a:spLocks noGrp="1"/>
          </p:cNvSpPr>
          <p:nvPr>
            <p:ph type="body" sz="quarter" idx="20" hasCustomPrompt="1"/>
          </p:nvPr>
        </p:nvSpPr>
        <p:spPr>
          <a:xfrm>
            <a:off x="51308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2</a:t>
            </a:r>
          </a:p>
        </p:txBody>
      </p:sp>
      <p:sp>
        <p:nvSpPr>
          <p:cNvPr id="18" name="Text Placeholder 13"/>
          <p:cNvSpPr>
            <a:spLocks noGrp="1"/>
          </p:cNvSpPr>
          <p:nvPr>
            <p:ph type="body" sz="quarter" idx="21" hasCustomPrompt="1"/>
          </p:nvPr>
        </p:nvSpPr>
        <p:spPr>
          <a:xfrm>
            <a:off x="93980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3</a:t>
            </a:r>
          </a:p>
        </p:txBody>
      </p:sp>
      <p:sp>
        <p:nvSpPr>
          <p:cNvPr id="20"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21"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4240369784"/>
      </p:ext>
    </p:extLst>
  </p:cSld>
  <p:clrMapOvr>
    <a:masterClrMapping/>
  </p:clrMapOvr>
  <p:transition spd="slow">
    <p:random/>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2" name="Oval 21"/>
          <p:cNvSpPr/>
          <p:nvPr userDrawn="1"/>
        </p:nvSpPr>
        <p:spPr>
          <a:xfrm>
            <a:off x="6150782" y="6739789"/>
            <a:ext cx="744471" cy="9926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1" name="Rectangle 10"/>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4" name="Picture Placeholder 3"/>
          <p:cNvSpPr>
            <a:spLocks noGrp="1"/>
          </p:cNvSpPr>
          <p:nvPr>
            <p:ph type="pic" sz="quarter" idx="13"/>
          </p:nvPr>
        </p:nvSpPr>
        <p:spPr>
          <a:xfrm>
            <a:off x="6502400" y="2655147"/>
            <a:ext cx="6041813" cy="4587804"/>
          </a:xfrm>
        </p:spPr>
        <p:txBody>
          <a:bodyPr/>
          <a:lstStyle>
            <a:lvl1pPr marL="0" indent="0">
              <a:buNone/>
              <a:defRPr/>
            </a:lvl1pPr>
          </a:lstStyle>
          <a:p>
            <a:r>
              <a:rPr lang="en-US" dirty="0"/>
              <a:t>Click icon to add picture</a:t>
            </a:r>
          </a:p>
        </p:txBody>
      </p:sp>
      <p:sp>
        <p:nvSpPr>
          <p:cNvPr id="15" name="Text Placeholder 14"/>
          <p:cNvSpPr>
            <a:spLocks noGrp="1"/>
          </p:cNvSpPr>
          <p:nvPr>
            <p:ph type="body" sz="quarter" idx="14" hasCustomPrompt="1"/>
          </p:nvPr>
        </p:nvSpPr>
        <p:spPr>
          <a:xfrm>
            <a:off x="6981954" y="7454039"/>
            <a:ext cx="4538133" cy="553737"/>
          </a:xfrm>
        </p:spPr>
        <p:txBody>
          <a:bodyPr>
            <a:normAutofit/>
          </a:bodyPr>
          <a:lstStyle>
            <a:lvl1pPr marL="0" indent="0">
              <a:buNone/>
              <a:defRPr sz="1493" baseline="0">
                <a:solidFill>
                  <a:schemeClr val="tx2"/>
                </a:solidFill>
              </a:defRPr>
            </a:lvl1pPr>
          </a:lstStyle>
          <a:p>
            <a:pPr lvl="0"/>
            <a:r>
              <a:rPr lang="en-US" dirty="0"/>
              <a:t>Photo Caption</a:t>
            </a:r>
          </a:p>
        </p:txBody>
      </p:sp>
      <p:sp>
        <p:nvSpPr>
          <p:cNvPr id="16" name="Text Placeholder 16"/>
          <p:cNvSpPr>
            <a:spLocks noGrp="1"/>
          </p:cNvSpPr>
          <p:nvPr>
            <p:ph type="body" sz="quarter" idx="15"/>
          </p:nvPr>
        </p:nvSpPr>
        <p:spPr>
          <a:xfrm>
            <a:off x="541867" y="3406339"/>
            <a:ext cx="5337387" cy="3684693"/>
          </a:xfrm>
        </p:spPr>
        <p:txBody>
          <a:bodyPr>
            <a:normAutofit/>
          </a:bodyPr>
          <a:lstStyle>
            <a:lvl1pPr>
              <a:lnSpc>
                <a:spcPct val="100000"/>
              </a:lnSpc>
              <a:spcAft>
                <a:spcPts val="640"/>
              </a:spcAft>
              <a:buClr>
                <a:schemeClr val="accent1"/>
              </a:buClr>
              <a:buSzPct val="150000"/>
              <a:defRPr sz="1707">
                <a:solidFill>
                  <a:srgbClr val="3B4559"/>
                </a:solidFill>
              </a:defRPr>
            </a:lvl1pPr>
            <a:lvl2pPr marL="731543" indent="-243848">
              <a:lnSpc>
                <a:spcPct val="100000"/>
              </a:lnSpc>
              <a:spcAft>
                <a:spcPts val="640"/>
              </a:spcAft>
              <a:buClr>
                <a:schemeClr val="tx2"/>
              </a:buClr>
              <a:buSzPct val="100000"/>
              <a:buFont typeface=".AppleSystemUIFont" charset="-120"/>
              <a:buChar char="–"/>
              <a:defRPr sz="1493">
                <a:solidFill>
                  <a:srgbClr val="3B4559"/>
                </a:solidFill>
              </a:defRPr>
            </a:lvl2pPr>
            <a:lvl3pPr marL="1219238" indent="-243848">
              <a:lnSpc>
                <a:spcPct val="100000"/>
              </a:lnSpc>
              <a:spcAft>
                <a:spcPts val="640"/>
              </a:spcAft>
              <a:buClr>
                <a:schemeClr val="tx2"/>
              </a:buClr>
              <a:buSzPct val="100000"/>
              <a:buFont typeface=".AppleSystemUIFont" charset="-120"/>
              <a:buChar char="–"/>
              <a:defRPr sz="1493">
                <a:solidFill>
                  <a:srgbClr val="3B4559"/>
                </a:solidFill>
              </a:defRPr>
            </a:lvl3pPr>
            <a:lvl4pPr marL="1706933" indent="-243848">
              <a:lnSpc>
                <a:spcPct val="100000"/>
              </a:lnSpc>
              <a:spcAft>
                <a:spcPts val="640"/>
              </a:spcAft>
              <a:buClr>
                <a:schemeClr val="tx2"/>
              </a:buClr>
              <a:buSzPct val="100000"/>
              <a:buFont typeface=".AppleSystemUIFont" charset="-120"/>
              <a:buChar char="–"/>
              <a:defRPr sz="1493">
                <a:solidFill>
                  <a:srgbClr val="3B4559"/>
                </a:solidFill>
              </a:defRPr>
            </a:lvl4pPr>
            <a:lvl5pPr marL="2194629" indent="-243848">
              <a:lnSpc>
                <a:spcPct val="100000"/>
              </a:lnSpc>
              <a:spcAft>
                <a:spcPts val="640"/>
              </a:spcAft>
              <a:buClr>
                <a:schemeClr val="tx2"/>
              </a:buClr>
              <a:buSzPct val="100000"/>
              <a:buFont typeface=".AppleSystemUIFont" charset="-120"/>
              <a:buChar char="–"/>
              <a:defRPr sz="1493">
                <a:solidFill>
                  <a:srgbClr val="3B45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8"/>
          <p:cNvSpPr>
            <a:spLocks noGrp="1"/>
          </p:cNvSpPr>
          <p:nvPr>
            <p:ph type="body" sz="quarter" idx="16" hasCustomPrompt="1"/>
          </p:nvPr>
        </p:nvSpPr>
        <p:spPr>
          <a:xfrm>
            <a:off x="541867" y="2655147"/>
            <a:ext cx="5337387" cy="577991"/>
          </a:xfrm>
        </p:spPr>
        <p:txBody>
          <a:bodyPr>
            <a:noAutofit/>
          </a:bodyPr>
          <a:lstStyle>
            <a:lvl1pPr marL="0" indent="0">
              <a:buNone/>
              <a:defRPr sz="1707" b="1" baseline="0">
                <a:solidFill>
                  <a:srgbClr val="3B4559"/>
                </a:solidFill>
              </a:defRPr>
            </a:lvl1pPr>
          </a:lstStyle>
          <a:p>
            <a:pPr lvl="0"/>
            <a:r>
              <a:rPr lang="en-US" dirty="0"/>
              <a:t>Bullet List Subhead</a:t>
            </a:r>
          </a:p>
        </p:txBody>
      </p:sp>
      <p:sp>
        <p:nvSpPr>
          <p:cNvPr id="18"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sp>
        <p:nvSpPr>
          <p:cNvPr id="19" name="Footer Placeholder 4"/>
          <p:cNvSpPr>
            <a:spLocks noGrp="1"/>
          </p:cNvSpPr>
          <p:nvPr>
            <p:ph type="ftr" sz="quarter" idx="11"/>
          </p:nvPr>
        </p:nvSpPr>
        <p:spPr>
          <a:xfrm>
            <a:off x="5786257" y="9040142"/>
            <a:ext cx="1432286" cy="713458"/>
          </a:xfrm>
          <a:ln>
            <a:noFill/>
          </a:ln>
        </p:spPr>
        <p:txBody>
          <a:bodyPr anchor="ctr"/>
          <a:lstStyle>
            <a:lvl1pPr algn="ctr">
              <a:defRPr sz="960">
                <a:solidFill>
                  <a:schemeClr val="bg1"/>
                </a:solidFill>
              </a:defRPr>
            </a:lvl1pPr>
          </a:lstStyle>
          <a:p>
            <a:endParaRPr lang="en-US" dirty="0"/>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24" name="Title 1"/>
          <p:cNvSpPr>
            <a:spLocks noGrp="1"/>
          </p:cNvSpPr>
          <p:nvPr>
            <p:ph type="title" hasCustomPrompt="1"/>
          </p:nvPr>
        </p:nvSpPr>
        <p:spPr>
          <a:xfrm>
            <a:off x="541867" y="46588"/>
            <a:ext cx="11403829" cy="1752036"/>
          </a:xfrm>
        </p:spPr>
        <p:txBody>
          <a:bodyPr anchor="b" anchorCtr="0"/>
          <a:lstStyle>
            <a:lvl1pPr>
              <a:defRPr baseline="0">
                <a:solidFill>
                  <a:schemeClr val="tx2"/>
                </a:solidFill>
              </a:defRPr>
            </a:lvl1pPr>
          </a:lstStyle>
          <a:p>
            <a:r>
              <a:rPr lang="en-US" dirty="0"/>
              <a:t>Bullet Slide with Image and a Longer</a:t>
            </a:r>
            <a:br>
              <a:rPr lang="en-US" dirty="0"/>
            </a:br>
            <a:r>
              <a:rPr lang="en-US" dirty="0"/>
              <a:t>Two Line Headline</a:t>
            </a:r>
          </a:p>
        </p:txBody>
      </p:sp>
      <p:cxnSp>
        <p:nvCxnSpPr>
          <p:cNvPr id="25" name="Straight Connector 24"/>
          <p:cNvCxnSpPr/>
          <p:nvPr userDrawn="1"/>
        </p:nvCxnSpPr>
        <p:spPr>
          <a:xfrm>
            <a:off x="594187" y="1708447"/>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4356113"/>
      </p:ext>
    </p:extLst>
  </p:cSld>
  <p:clrMapOvr>
    <a:masterClrMapping/>
  </p:clrMapOvr>
  <p:extLst mod="1">
    <p:ext uri="{DCECCB84-F9BA-43D5-87BE-67443E8EF086}">
      <p15:sldGuideLst xmlns:p15="http://schemas.microsoft.com/office/powerpoint/2012/main">
        <p15:guide id="1" orient="horz" pos="1176">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Bullet Column">
    <p:spTree>
      <p:nvGrpSpPr>
        <p:cNvPr id="1" name=""/>
        <p:cNvGrpSpPr/>
        <p:nvPr/>
      </p:nvGrpSpPr>
      <p:grpSpPr>
        <a:xfrm>
          <a:off x="0" y="0"/>
          <a:ext cx="0" cy="0"/>
          <a:chOff x="0" y="0"/>
          <a:chExt cx="0" cy="0"/>
        </a:xfrm>
      </p:grpSpPr>
      <p:sp>
        <p:nvSpPr>
          <p:cNvPr id="6" name="Rectangle 5"/>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2" name="Title 1"/>
          <p:cNvSpPr>
            <a:spLocks noGrp="1"/>
          </p:cNvSpPr>
          <p:nvPr>
            <p:ph type="title" hasCustomPrompt="1"/>
          </p:nvPr>
        </p:nvSpPr>
        <p:spPr>
          <a:xfrm>
            <a:off x="541867" y="501227"/>
            <a:ext cx="11403829" cy="912142"/>
          </a:xfrm>
        </p:spPr>
        <p:txBody>
          <a:bodyPr anchor="b" anchorCtr="0"/>
          <a:lstStyle>
            <a:lvl1pPr>
              <a:defRPr baseline="0">
                <a:solidFill>
                  <a:schemeClr val="tx2"/>
                </a:solidFill>
              </a:defRPr>
            </a:lvl1pPr>
          </a:lstStyle>
          <a:p>
            <a:r>
              <a:rPr lang="en-US" dirty="0"/>
              <a:t>Copy Slide with a Highlighted Section</a:t>
            </a:r>
          </a:p>
        </p:txBody>
      </p:sp>
      <p:sp>
        <p:nvSpPr>
          <p:cNvPr id="17" name="Text Placeholder 16"/>
          <p:cNvSpPr>
            <a:spLocks noGrp="1"/>
          </p:cNvSpPr>
          <p:nvPr>
            <p:ph type="body" sz="quarter" idx="15"/>
          </p:nvPr>
        </p:nvSpPr>
        <p:spPr>
          <a:xfrm>
            <a:off x="541867" y="3401937"/>
            <a:ext cx="5337387" cy="3684693"/>
          </a:xfrm>
        </p:spPr>
        <p:txBody>
          <a:bodyPr>
            <a:normAutofit/>
          </a:bodyPr>
          <a:lstStyle>
            <a:lvl1pPr>
              <a:lnSpc>
                <a:spcPct val="100000"/>
              </a:lnSpc>
              <a:spcAft>
                <a:spcPts val="640"/>
              </a:spcAft>
              <a:buClr>
                <a:schemeClr val="accent1"/>
              </a:buClr>
              <a:buSzPct val="150000"/>
              <a:defRPr sz="1707">
                <a:solidFill>
                  <a:srgbClr val="3B4559"/>
                </a:solidFill>
              </a:defRPr>
            </a:lvl1pPr>
            <a:lvl2pPr marL="731543" indent="-243848">
              <a:lnSpc>
                <a:spcPct val="100000"/>
              </a:lnSpc>
              <a:spcAft>
                <a:spcPts val="640"/>
              </a:spcAft>
              <a:buClr>
                <a:schemeClr val="tx2"/>
              </a:buClr>
              <a:buSzPct val="100000"/>
              <a:buFont typeface=".AppleSystemUIFont" charset="-120"/>
              <a:buChar char="–"/>
              <a:defRPr sz="1493">
                <a:solidFill>
                  <a:srgbClr val="3B4559"/>
                </a:solidFill>
              </a:defRPr>
            </a:lvl2pPr>
            <a:lvl3pPr marL="1219238" indent="-243848">
              <a:lnSpc>
                <a:spcPct val="100000"/>
              </a:lnSpc>
              <a:spcAft>
                <a:spcPts val="640"/>
              </a:spcAft>
              <a:buClr>
                <a:schemeClr val="tx2"/>
              </a:buClr>
              <a:buSzPct val="100000"/>
              <a:buFont typeface=".AppleSystemUIFont" charset="-120"/>
              <a:buChar char="–"/>
              <a:defRPr sz="1493">
                <a:solidFill>
                  <a:srgbClr val="3B4559"/>
                </a:solidFill>
              </a:defRPr>
            </a:lvl3pPr>
            <a:lvl4pPr marL="1706933" indent="-243848">
              <a:lnSpc>
                <a:spcPct val="100000"/>
              </a:lnSpc>
              <a:spcAft>
                <a:spcPts val="640"/>
              </a:spcAft>
              <a:buClr>
                <a:schemeClr val="tx2"/>
              </a:buClr>
              <a:buSzPct val="100000"/>
              <a:buFont typeface=".AppleSystemUIFont" charset="-120"/>
              <a:buChar char="–"/>
              <a:defRPr sz="1493">
                <a:solidFill>
                  <a:srgbClr val="3B4559"/>
                </a:solidFill>
              </a:defRPr>
            </a:lvl4pPr>
            <a:lvl5pPr marL="2194629" indent="-243848">
              <a:lnSpc>
                <a:spcPct val="100000"/>
              </a:lnSpc>
              <a:spcAft>
                <a:spcPts val="640"/>
              </a:spcAft>
              <a:buClr>
                <a:schemeClr val="tx2"/>
              </a:buClr>
              <a:buSzPct val="100000"/>
              <a:buFont typeface=".AppleSystemUIFont" charset="-120"/>
              <a:buChar char="–"/>
              <a:defRPr sz="1493">
                <a:solidFill>
                  <a:srgbClr val="3B45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6" hasCustomPrompt="1"/>
          </p:nvPr>
        </p:nvSpPr>
        <p:spPr>
          <a:xfrm>
            <a:off x="541867" y="2655147"/>
            <a:ext cx="5337387" cy="577991"/>
          </a:xfrm>
        </p:spPr>
        <p:txBody>
          <a:bodyPr>
            <a:noAutofit/>
          </a:bodyPr>
          <a:lstStyle>
            <a:lvl1pPr marL="0" indent="0">
              <a:buNone/>
              <a:defRPr sz="1707" b="1" baseline="0">
                <a:solidFill>
                  <a:srgbClr val="3B4559"/>
                </a:solidFill>
              </a:defRPr>
            </a:lvl1pPr>
          </a:lstStyle>
          <a:p>
            <a:pPr lvl="0"/>
            <a:r>
              <a:rPr lang="en-US" dirty="0"/>
              <a:t>Bullet List Subhead</a:t>
            </a:r>
          </a:p>
        </p:txBody>
      </p:sp>
      <p:sp>
        <p:nvSpPr>
          <p:cNvPr id="7" name="Footer Placeholder 4"/>
          <p:cNvSpPr>
            <a:spLocks noGrp="1"/>
          </p:cNvSpPr>
          <p:nvPr>
            <p:ph type="ftr" sz="quarter" idx="11"/>
          </p:nvPr>
        </p:nvSpPr>
        <p:spPr>
          <a:xfrm>
            <a:off x="5786257" y="9040142"/>
            <a:ext cx="1432286" cy="713458"/>
          </a:xfrm>
          <a:prstGeom prst="rect">
            <a:avLst/>
          </a:prstGeom>
          <a:ln>
            <a:noFill/>
          </a:ln>
        </p:spPr>
        <p:txBody>
          <a:bodyPr/>
          <a:lstStyle>
            <a:lvl1pPr>
              <a:defRPr sz="960">
                <a:solidFill>
                  <a:schemeClr val="bg1"/>
                </a:solidFill>
              </a:defRPr>
            </a:lvl1pPr>
          </a:lstStyle>
          <a:p>
            <a:endParaRPr lang="en-US" dirty="0"/>
          </a:p>
        </p:txBody>
      </p:sp>
      <p:sp>
        <p:nvSpPr>
          <p:cNvPr id="10" name="Text Placeholder 16"/>
          <p:cNvSpPr>
            <a:spLocks noGrp="1"/>
          </p:cNvSpPr>
          <p:nvPr>
            <p:ph type="body" sz="quarter" idx="17"/>
          </p:nvPr>
        </p:nvSpPr>
        <p:spPr>
          <a:xfrm>
            <a:off x="6608309" y="2655147"/>
            <a:ext cx="5337387" cy="4443307"/>
          </a:xfrm>
          <a:solidFill>
            <a:schemeClr val="bg1">
              <a:lumMod val="85000"/>
              <a:alpha val="27000"/>
            </a:schemeClr>
          </a:solidFill>
        </p:spPr>
        <p:txBody>
          <a:bodyPr lIns="182880" tIns="182880">
            <a:normAutofit/>
          </a:bodyPr>
          <a:lstStyle>
            <a:lvl1pPr>
              <a:lnSpc>
                <a:spcPct val="100000"/>
              </a:lnSpc>
              <a:spcAft>
                <a:spcPts val="640"/>
              </a:spcAft>
              <a:buClr>
                <a:schemeClr val="accent1"/>
              </a:buClr>
              <a:buSzPct val="150000"/>
              <a:defRPr sz="1707">
                <a:solidFill>
                  <a:srgbClr val="3B4559"/>
                </a:solidFill>
              </a:defRPr>
            </a:lvl1pPr>
            <a:lvl2pPr marL="731543" indent="-243848">
              <a:lnSpc>
                <a:spcPct val="100000"/>
              </a:lnSpc>
              <a:spcAft>
                <a:spcPts val="640"/>
              </a:spcAft>
              <a:buClr>
                <a:schemeClr val="tx2"/>
              </a:buClr>
              <a:buSzPct val="100000"/>
              <a:buFont typeface=".AppleSystemUIFont" charset="-120"/>
              <a:buChar char="–"/>
              <a:defRPr sz="1493">
                <a:solidFill>
                  <a:srgbClr val="3B4559"/>
                </a:solidFill>
              </a:defRPr>
            </a:lvl2pPr>
            <a:lvl3pPr marL="1219238" indent="-243848">
              <a:lnSpc>
                <a:spcPct val="100000"/>
              </a:lnSpc>
              <a:spcAft>
                <a:spcPts val="640"/>
              </a:spcAft>
              <a:buClr>
                <a:schemeClr val="tx2"/>
              </a:buClr>
              <a:buSzPct val="100000"/>
              <a:buFont typeface=".AppleSystemUIFont" charset="-120"/>
              <a:buChar char="–"/>
              <a:defRPr sz="1493">
                <a:solidFill>
                  <a:srgbClr val="3B4559"/>
                </a:solidFill>
              </a:defRPr>
            </a:lvl3pPr>
            <a:lvl4pPr marL="1706933" indent="-243848">
              <a:lnSpc>
                <a:spcPct val="100000"/>
              </a:lnSpc>
              <a:spcAft>
                <a:spcPts val="640"/>
              </a:spcAft>
              <a:buClr>
                <a:schemeClr val="tx2"/>
              </a:buClr>
              <a:buSzPct val="100000"/>
              <a:buFont typeface=".AppleSystemUIFont" charset="-120"/>
              <a:buChar char="–"/>
              <a:defRPr sz="1493">
                <a:solidFill>
                  <a:srgbClr val="3B4559"/>
                </a:solidFill>
              </a:defRPr>
            </a:lvl4pPr>
            <a:lvl5pPr marL="2194629" indent="-243848">
              <a:lnSpc>
                <a:spcPct val="100000"/>
              </a:lnSpc>
              <a:spcAft>
                <a:spcPts val="640"/>
              </a:spcAft>
              <a:buClr>
                <a:schemeClr val="tx2"/>
              </a:buClr>
              <a:buSzPct val="100000"/>
              <a:buFont typeface=".AppleSystemUIFont" charset="-120"/>
              <a:buChar char="–"/>
              <a:defRPr sz="1493">
                <a:solidFill>
                  <a:srgbClr val="3B45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cxnSp>
        <p:nvCxnSpPr>
          <p:cNvPr id="16" name="Straight Connector 15"/>
          <p:cNvCxnSpPr/>
          <p:nvPr userDrawn="1"/>
        </p:nvCxnSpPr>
        <p:spPr>
          <a:xfrm>
            <a:off x="594187" y="1705330"/>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909127"/>
      </p:ext>
    </p:extLst>
  </p:cSld>
  <p:clrMapOvr>
    <a:masterClrMapping/>
  </p:clrMapOvr>
  <p:extLst mod="1">
    <p:ext uri="{DCECCB84-F9BA-43D5-87BE-67443E8EF086}">
      <p15:sldGuideLst xmlns:p15="http://schemas.microsoft.com/office/powerpoint/2012/main">
        <p15:guide id="1" orient="horz" pos="1176">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With Header Footer">
    <p:spTree>
      <p:nvGrpSpPr>
        <p:cNvPr id="1" name=""/>
        <p:cNvGrpSpPr/>
        <p:nvPr/>
      </p:nvGrpSpPr>
      <p:grpSpPr>
        <a:xfrm>
          <a:off x="0" y="0"/>
          <a:ext cx="0" cy="0"/>
          <a:chOff x="0" y="0"/>
          <a:chExt cx="0" cy="0"/>
        </a:xfrm>
      </p:grpSpPr>
      <p:sp>
        <p:nvSpPr>
          <p:cNvPr id="5" name="Rectangle 4"/>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6" name="Footer Placeholder 4"/>
          <p:cNvSpPr>
            <a:spLocks noGrp="1"/>
          </p:cNvSpPr>
          <p:nvPr>
            <p:ph type="ftr" sz="quarter" idx="11"/>
          </p:nvPr>
        </p:nvSpPr>
        <p:spPr>
          <a:xfrm>
            <a:off x="5786257" y="9040142"/>
            <a:ext cx="1432286" cy="713458"/>
          </a:xfrm>
          <a:prstGeom prst="rect">
            <a:avLst/>
          </a:prstGeom>
          <a:ln>
            <a:noFill/>
          </a:ln>
        </p:spPr>
        <p:txBody>
          <a:bodyPr/>
          <a:lstStyle>
            <a:lvl1pPr>
              <a:defRPr>
                <a:solidFill>
                  <a:schemeClr val="bg1"/>
                </a:solidFill>
              </a:defRPr>
            </a:lvl1pPr>
          </a:lstStyle>
          <a:p>
            <a:endParaRPr lang="en-US" dirty="0"/>
          </a:p>
        </p:txBody>
      </p:sp>
      <p:sp>
        <p:nvSpPr>
          <p:cNvPr id="11"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13" name="Title 1"/>
          <p:cNvSpPr>
            <a:spLocks noGrp="1"/>
          </p:cNvSpPr>
          <p:nvPr>
            <p:ph type="title" hasCustomPrompt="1"/>
          </p:nvPr>
        </p:nvSpPr>
        <p:spPr>
          <a:xfrm>
            <a:off x="541867" y="474133"/>
            <a:ext cx="11403829" cy="925689"/>
          </a:xfrm>
        </p:spPr>
        <p:txBody>
          <a:bodyPr anchor="b" anchorCtr="0"/>
          <a:lstStyle>
            <a:lvl1pPr>
              <a:defRPr baseline="0">
                <a:solidFill>
                  <a:schemeClr val="tx2"/>
                </a:solidFill>
              </a:defRPr>
            </a:lvl1pPr>
          </a:lstStyle>
          <a:p>
            <a:r>
              <a:rPr lang="en-US" dirty="0"/>
              <a:t>Blank Slide</a:t>
            </a:r>
          </a:p>
        </p:txBody>
      </p:sp>
      <p:cxnSp>
        <p:nvCxnSpPr>
          <p:cNvPr id="14" name="Straight Connector 13"/>
          <p:cNvCxnSpPr/>
          <p:nvPr userDrawn="1"/>
        </p:nvCxnSpPr>
        <p:spPr>
          <a:xfrm>
            <a:off x="594187" y="1705330"/>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0584950"/>
      </p:ext>
    </p:extLst>
  </p:cSld>
  <p:clrMapOvr>
    <a:masterClrMapping/>
  </p:clrMapOvr>
  <p:extLst mod="1">
    <p:ext uri="{DCECCB84-F9BA-43D5-87BE-67443E8EF086}">
      <p15:sldGuideLst xmlns:p15="http://schemas.microsoft.com/office/powerpoint/2012/main">
        <p15:guide id="1" orient="horz" pos="48">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2" name="Rectangle 11"/>
          <p:cNvSpPr/>
          <p:nvPr userDrawn="1"/>
        </p:nvSpPr>
        <p:spPr>
          <a:xfrm>
            <a:off x="0" y="0"/>
            <a:ext cx="13013470" cy="97536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5" name="Rectangle 4"/>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6" name="Footer Placeholder 4"/>
          <p:cNvSpPr>
            <a:spLocks noGrp="1"/>
          </p:cNvSpPr>
          <p:nvPr>
            <p:ph type="ftr" sz="quarter" idx="11"/>
          </p:nvPr>
        </p:nvSpPr>
        <p:spPr>
          <a:xfrm>
            <a:off x="5786257" y="9040142"/>
            <a:ext cx="1432286" cy="713458"/>
          </a:xfrm>
          <a:prstGeom prst="rect">
            <a:avLst/>
          </a:prstGeom>
          <a:ln>
            <a:noFill/>
          </a:ln>
        </p:spPr>
        <p:txBody>
          <a:bodyPr/>
          <a:lstStyle>
            <a:lvl1pPr>
              <a:defRPr>
                <a:solidFill>
                  <a:schemeClr val="bg1"/>
                </a:solidFill>
              </a:defRPr>
            </a:lvl1pPr>
          </a:lstStyle>
          <a:p>
            <a:endParaRPr lang="en-US" dirty="0"/>
          </a:p>
        </p:txBody>
      </p:sp>
      <p:sp>
        <p:nvSpPr>
          <p:cNvPr id="3" name="Table Placeholder 2"/>
          <p:cNvSpPr>
            <a:spLocks noGrp="1"/>
          </p:cNvSpPr>
          <p:nvPr>
            <p:ph type="tbl" sz="quarter" idx="13"/>
          </p:nvPr>
        </p:nvSpPr>
        <p:spPr>
          <a:xfrm>
            <a:off x="1530774" y="3253336"/>
            <a:ext cx="10309013" cy="4172373"/>
          </a:xfrm>
        </p:spPr>
        <p:txBody>
          <a:bodyPr/>
          <a:lstStyle/>
          <a:p>
            <a:r>
              <a:rPr lang="en-US" dirty="0"/>
              <a:t>Click icon to add table</a:t>
            </a:r>
          </a:p>
        </p:txBody>
      </p:sp>
      <p:sp>
        <p:nvSpPr>
          <p:cNvPr id="11"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14" name="Title 1"/>
          <p:cNvSpPr>
            <a:spLocks noGrp="1"/>
          </p:cNvSpPr>
          <p:nvPr>
            <p:ph type="title" hasCustomPrompt="1"/>
          </p:nvPr>
        </p:nvSpPr>
        <p:spPr>
          <a:xfrm>
            <a:off x="541867" y="460586"/>
            <a:ext cx="11403829" cy="925689"/>
          </a:xfrm>
        </p:spPr>
        <p:txBody>
          <a:bodyPr anchor="b" anchorCtr="0"/>
          <a:lstStyle>
            <a:lvl1pPr>
              <a:defRPr baseline="0">
                <a:solidFill>
                  <a:schemeClr val="tx2"/>
                </a:solidFill>
              </a:defRPr>
            </a:lvl1pPr>
          </a:lstStyle>
          <a:p>
            <a:r>
              <a:rPr lang="en-US" dirty="0"/>
              <a:t>Table Slide</a:t>
            </a:r>
          </a:p>
        </p:txBody>
      </p:sp>
      <p:cxnSp>
        <p:nvCxnSpPr>
          <p:cNvPr id="15" name="Straight Connector 14"/>
          <p:cNvCxnSpPr/>
          <p:nvPr userDrawn="1"/>
        </p:nvCxnSpPr>
        <p:spPr>
          <a:xfrm>
            <a:off x="594187" y="1691783"/>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8790718"/>
      </p:ext>
    </p:extLst>
  </p:cSld>
  <p:clrMapOvr>
    <a:masterClrMapping/>
  </p:clrMapOvr>
  <p:extLst mod="1">
    <p:ext uri="{DCECCB84-F9BA-43D5-87BE-67443E8EF086}">
      <p15:sldGuideLst xmlns:p15="http://schemas.microsoft.com/office/powerpoint/2012/main">
        <p15:guide id="1" orient="horz" pos="48">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r Chart ">
    <p:spTree>
      <p:nvGrpSpPr>
        <p:cNvPr id="1" name=""/>
        <p:cNvGrpSpPr/>
        <p:nvPr/>
      </p:nvGrpSpPr>
      <p:grpSpPr>
        <a:xfrm>
          <a:off x="0" y="0"/>
          <a:ext cx="0" cy="0"/>
          <a:chOff x="0" y="0"/>
          <a:chExt cx="0" cy="0"/>
        </a:xfrm>
      </p:grpSpPr>
      <p:sp>
        <p:nvSpPr>
          <p:cNvPr id="16" name="Rectangle 15"/>
          <p:cNvSpPr/>
          <p:nvPr userDrawn="1"/>
        </p:nvSpPr>
        <p:spPr>
          <a:xfrm>
            <a:off x="0" y="0"/>
            <a:ext cx="13013470" cy="97536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5" name="Rectangle 4"/>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6" name="Footer Placeholder 4"/>
          <p:cNvSpPr>
            <a:spLocks noGrp="1"/>
          </p:cNvSpPr>
          <p:nvPr>
            <p:ph type="ftr" sz="quarter" idx="11"/>
          </p:nvPr>
        </p:nvSpPr>
        <p:spPr>
          <a:xfrm>
            <a:off x="5786257" y="9040142"/>
            <a:ext cx="1432286" cy="713458"/>
          </a:xfrm>
          <a:prstGeom prst="rect">
            <a:avLst/>
          </a:prstGeom>
          <a:ln>
            <a:noFill/>
          </a:ln>
        </p:spPr>
        <p:txBody>
          <a:bodyPr/>
          <a:lstStyle>
            <a:lvl1pPr>
              <a:defRPr>
                <a:solidFill>
                  <a:schemeClr val="bg1"/>
                </a:solidFill>
              </a:defRPr>
            </a:lvl1pPr>
          </a:lstStyle>
          <a:p>
            <a:endParaRPr lang="en-US" dirty="0"/>
          </a:p>
        </p:txBody>
      </p:sp>
      <p:sp>
        <p:nvSpPr>
          <p:cNvPr id="4" name="Chart Placeholder 3"/>
          <p:cNvSpPr>
            <a:spLocks noGrp="1"/>
          </p:cNvSpPr>
          <p:nvPr>
            <p:ph type="chart" sz="quarter" idx="13"/>
          </p:nvPr>
        </p:nvSpPr>
        <p:spPr>
          <a:xfrm>
            <a:off x="2275698" y="2499884"/>
            <a:ext cx="8239469" cy="4965820"/>
          </a:xfrm>
        </p:spPr>
        <p:txBody>
          <a:bodyPr/>
          <a:lstStyle/>
          <a:p>
            <a:r>
              <a:rPr lang="en-US" dirty="0"/>
              <a:t>Click icon to add chart</a:t>
            </a:r>
          </a:p>
        </p:txBody>
      </p:sp>
      <p:sp>
        <p:nvSpPr>
          <p:cNvPr id="11" name="Slide Number Placeholder 6"/>
          <p:cNvSpPr>
            <a:spLocks noGrp="1"/>
          </p:cNvSpPr>
          <p:nvPr>
            <p:ph type="sldNum" sz="quarter" idx="12"/>
          </p:nvPr>
        </p:nvSpPr>
        <p:spPr>
          <a:xfrm>
            <a:off x="198244" y="9040142"/>
            <a:ext cx="2926080" cy="713458"/>
          </a:xfrm>
        </p:spPr>
        <p:txBody>
          <a:bodyPr/>
          <a:lstStyle>
            <a:lvl1pPr algn="l">
              <a:defRPr>
                <a:solidFill>
                  <a:schemeClr val="bg1"/>
                </a:solidFill>
              </a:defRPr>
            </a:lvl1pPr>
          </a:lstStyle>
          <a:p>
            <a:fld id="{654EBBEC-1F5B-0A43-B072-71A660DA9E98}" type="slidenum">
              <a:rPr lang="en-US" smtClean="0"/>
              <a:pPr/>
              <a:t>‹#›</a:t>
            </a:fld>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14" name="Title 1"/>
          <p:cNvSpPr>
            <a:spLocks noGrp="1"/>
          </p:cNvSpPr>
          <p:nvPr>
            <p:ph type="title" hasCustomPrompt="1"/>
          </p:nvPr>
        </p:nvSpPr>
        <p:spPr>
          <a:xfrm>
            <a:off x="541867" y="491952"/>
            <a:ext cx="11403829" cy="934963"/>
          </a:xfrm>
        </p:spPr>
        <p:txBody>
          <a:bodyPr anchor="b" anchorCtr="0"/>
          <a:lstStyle>
            <a:lvl1pPr>
              <a:defRPr baseline="0">
                <a:solidFill>
                  <a:schemeClr val="tx2"/>
                </a:solidFill>
              </a:defRPr>
            </a:lvl1pPr>
          </a:lstStyle>
          <a:p>
            <a:r>
              <a:rPr lang="en-US" dirty="0"/>
              <a:t>Chart Slide</a:t>
            </a:r>
          </a:p>
        </p:txBody>
      </p:sp>
      <p:cxnSp>
        <p:nvCxnSpPr>
          <p:cNvPr id="15" name="Straight Connector 14"/>
          <p:cNvCxnSpPr/>
          <p:nvPr userDrawn="1"/>
        </p:nvCxnSpPr>
        <p:spPr>
          <a:xfrm>
            <a:off x="594187" y="1705330"/>
            <a:ext cx="3121152" cy="0"/>
          </a:xfrm>
          <a:prstGeom prst="line">
            <a:avLst/>
          </a:prstGeom>
          <a:ln w="1079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531383"/>
      </p:ext>
    </p:extLst>
  </p:cSld>
  <p:clrMapOvr>
    <a:masterClrMapping/>
  </p:clrMapOvr>
  <p:extLst mod="1">
    <p:ext uri="{DCECCB84-F9BA-43D5-87BE-67443E8EF086}">
      <p15:sldGuideLst xmlns:p15="http://schemas.microsoft.com/office/powerpoint/2012/main">
        <p15:guide id="1" orient="horz" pos="48">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3318603" y="3287324"/>
            <a:ext cx="6367595" cy="1354667"/>
          </a:xfrm>
        </p:spPr>
        <p:txBody>
          <a:bodyPr anchor="t" anchorCtr="0">
            <a:normAutofit/>
          </a:bodyPr>
          <a:lstStyle>
            <a:lvl1pPr algn="ctr">
              <a:defRPr sz="4693" baseline="0">
                <a:solidFill>
                  <a:schemeClr val="tx2"/>
                </a:solidFill>
              </a:defRPr>
            </a:lvl1pPr>
          </a:lstStyle>
          <a:p>
            <a:r>
              <a:rPr lang="en-US" dirty="0"/>
              <a:t>Thank you</a:t>
            </a:r>
          </a:p>
        </p:txBody>
      </p:sp>
      <p:cxnSp>
        <p:nvCxnSpPr>
          <p:cNvPr id="11" name="Straight Connector 10"/>
          <p:cNvCxnSpPr/>
          <p:nvPr userDrawn="1"/>
        </p:nvCxnSpPr>
        <p:spPr>
          <a:xfrm>
            <a:off x="4941824" y="4569742"/>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32851" y="5508460"/>
            <a:ext cx="1220378" cy="1517227"/>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5457" y="7892157"/>
            <a:ext cx="12547115" cy="1593284"/>
          </a:xfrm>
          <a:prstGeom prst="rect">
            <a:avLst/>
          </a:prstGeom>
        </p:spPr>
      </p:pic>
      <p:sp>
        <p:nvSpPr>
          <p:cNvPr id="9" name="Rectangle 8"/>
          <p:cNvSpPr/>
          <p:nvPr userDrawn="1"/>
        </p:nvSpPr>
        <p:spPr>
          <a:xfrm>
            <a:off x="65027" y="61931"/>
            <a:ext cx="12874752" cy="9623552"/>
          </a:xfrm>
          <a:prstGeom prst="rect">
            <a:avLst/>
          </a:prstGeom>
          <a:noFill/>
          <a:ln w="152400">
            <a:gradFill>
              <a:gsLst>
                <a:gs pos="0">
                  <a:schemeClr val="tx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Tree>
    <p:extLst>
      <p:ext uri="{BB962C8B-B14F-4D97-AF65-F5344CB8AC3E}">
        <p14:creationId xmlns:p14="http://schemas.microsoft.com/office/powerpoint/2010/main" val="5945980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318603" y="3287324"/>
            <a:ext cx="6367595" cy="1354667"/>
          </a:xfrm>
        </p:spPr>
        <p:txBody>
          <a:bodyPr anchor="t" anchorCtr="0">
            <a:normAutofit/>
          </a:bodyPr>
          <a:lstStyle>
            <a:lvl1pPr algn="ctr">
              <a:defRPr sz="4693" baseline="0">
                <a:solidFill>
                  <a:schemeClr val="tx2"/>
                </a:solidFill>
              </a:defRPr>
            </a:lvl1pPr>
          </a:lstStyle>
          <a:p>
            <a:r>
              <a:rPr lang="en-US" dirty="0"/>
              <a:t>Thank you</a:t>
            </a:r>
          </a:p>
        </p:txBody>
      </p:sp>
      <p:cxnSp>
        <p:nvCxnSpPr>
          <p:cNvPr id="6" name="Straight Connector 5"/>
          <p:cNvCxnSpPr/>
          <p:nvPr userDrawn="1"/>
        </p:nvCxnSpPr>
        <p:spPr>
          <a:xfrm>
            <a:off x="4941824" y="4569742"/>
            <a:ext cx="3121152" cy="0"/>
          </a:xfrm>
          <a:prstGeom prst="line">
            <a:avLst/>
          </a:prstGeom>
          <a:ln w="114300"/>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5457" y="7892157"/>
            <a:ext cx="12547115" cy="1593284"/>
          </a:xfrm>
          <a:prstGeom prst="rect">
            <a:avLst/>
          </a:prstGeom>
        </p:spPr>
      </p:pic>
      <p:sp>
        <p:nvSpPr>
          <p:cNvPr id="8" name="Rectangle 7"/>
          <p:cNvSpPr/>
          <p:nvPr userDrawn="1"/>
        </p:nvSpPr>
        <p:spPr>
          <a:xfrm>
            <a:off x="65027" y="61931"/>
            <a:ext cx="12874752" cy="9623552"/>
          </a:xfrm>
          <a:prstGeom prst="rect">
            <a:avLst/>
          </a:prstGeom>
          <a:noFill/>
          <a:ln w="152400">
            <a:gradFill>
              <a:gsLst>
                <a:gs pos="0">
                  <a:schemeClr val="tx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11" name="TextBox 10"/>
          <p:cNvSpPr txBox="1"/>
          <p:nvPr userDrawn="1"/>
        </p:nvSpPr>
        <p:spPr>
          <a:xfrm>
            <a:off x="5489008" y="5258465"/>
            <a:ext cx="2026784" cy="322076"/>
          </a:xfrm>
          <a:prstGeom prst="rect">
            <a:avLst/>
          </a:prstGeom>
          <a:noFill/>
        </p:spPr>
        <p:txBody>
          <a:bodyPr wrap="square" rtlCol="0">
            <a:spAutoFit/>
          </a:bodyPr>
          <a:lstStyle/>
          <a:p>
            <a:pPr algn="ctr"/>
            <a:r>
              <a:rPr lang="en-US" sz="1493" b="1" dirty="0"/>
              <a:t>translate.bio</a:t>
            </a:r>
          </a:p>
        </p:txBody>
      </p:sp>
    </p:spTree>
    <p:extLst>
      <p:ext uri="{BB962C8B-B14F-4D97-AF65-F5344CB8AC3E}">
        <p14:creationId xmlns:p14="http://schemas.microsoft.com/office/powerpoint/2010/main" val="18273141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1338" y="1803689"/>
            <a:ext cx="5779788" cy="688993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83680" y="1803689"/>
            <a:ext cx="5527040" cy="688993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E2CDE9-C792-A349-B618-1CEE296A64C3}" type="slidenum">
              <a:rPr lang="en-US" smtClean="0"/>
              <a:t>‹#›</a:t>
            </a:fld>
            <a:endParaRPr lang="en-US" dirty="0"/>
          </a:p>
        </p:txBody>
      </p:sp>
      <p:sp>
        <p:nvSpPr>
          <p:cNvPr id="8" name="Title Placeholder 1"/>
          <p:cNvSpPr>
            <a:spLocks noGrp="1"/>
          </p:cNvSpPr>
          <p:nvPr>
            <p:ph type="title"/>
          </p:nvPr>
        </p:nvSpPr>
        <p:spPr>
          <a:xfrm>
            <a:off x="641336" y="5"/>
            <a:ext cx="12181979" cy="1371601"/>
          </a:xfrm>
          <a:prstGeom prst="rect">
            <a:avLst/>
          </a:prstGeom>
        </p:spPr>
        <p:txBody>
          <a:bodyPr vert="horz" lIns="91436" tIns="45718" rIns="91436" bIns="45718"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11719802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9644" y="1776252"/>
            <a:ext cx="5856034" cy="1171786"/>
          </a:xfrm>
        </p:spPr>
        <p:txBody>
          <a:bodyPr anchor="b"/>
          <a:lstStyle>
            <a:lvl1pPr marL="0" indent="0">
              <a:buNone/>
              <a:defRPr sz="2845" b="1">
                <a:solidFill>
                  <a:schemeClr val="tx2"/>
                </a:solidFill>
              </a:defRPr>
            </a:lvl1pPr>
            <a:lvl2pPr marL="650212" indent="0">
              <a:buNone/>
              <a:defRPr sz="2845" b="1"/>
            </a:lvl2pPr>
            <a:lvl3pPr marL="1300425" indent="0">
              <a:buNone/>
              <a:defRPr sz="2560" b="1"/>
            </a:lvl3pPr>
            <a:lvl4pPr marL="1950636" indent="0">
              <a:buNone/>
              <a:defRPr sz="2275" b="1"/>
            </a:lvl4pPr>
            <a:lvl5pPr marL="2600847" indent="0">
              <a:buNone/>
              <a:defRPr sz="2275" b="1"/>
            </a:lvl5pPr>
            <a:lvl6pPr marL="3251058" indent="0">
              <a:buNone/>
              <a:defRPr sz="2275" b="1"/>
            </a:lvl6pPr>
            <a:lvl7pPr marL="3901271" indent="0">
              <a:buNone/>
              <a:defRPr sz="2275" b="1"/>
            </a:lvl7pPr>
            <a:lvl8pPr marL="4551481" indent="0">
              <a:buNone/>
              <a:defRPr sz="2275" b="1"/>
            </a:lvl8pPr>
            <a:lvl9pPr marL="5201693" indent="0">
              <a:buNone/>
              <a:defRPr sz="2275" b="1"/>
            </a:lvl9pPr>
          </a:lstStyle>
          <a:p>
            <a:pPr lvl="0"/>
            <a:r>
              <a:rPr lang="en-US"/>
              <a:t>Click to edit Master text styles</a:t>
            </a:r>
          </a:p>
        </p:txBody>
      </p:sp>
      <p:sp>
        <p:nvSpPr>
          <p:cNvPr id="4" name="Content Placeholder 3"/>
          <p:cNvSpPr>
            <a:spLocks noGrp="1"/>
          </p:cNvSpPr>
          <p:nvPr>
            <p:ph sz="half" idx="2"/>
          </p:nvPr>
        </p:nvSpPr>
        <p:spPr>
          <a:xfrm>
            <a:off x="619644" y="2948041"/>
            <a:ext cx="5856034" cy="586138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965591" y="1776252"/>
            <a:ext cx="5857725" cy="1171786"/>
          </a:xfrm>
        </p:spPr>
        <p:txBody>
          <a:bodyPr anchor="b"/>
          <a:lstStyle>
            <a:lvl1pPr marL="0" indent="0">
              <a:buNone/>
              <a:defRPr sz="2845" b="1"/>
            </a:lvl1pPr>
            <a:lvl2pPr marL="650212" indent="0">
              <a:buNone/>
              <a:defRPr sz="2845" b="1"/>
            </a:lvl2pPr>
            <a:lvl3pPr marL="1300425" indent="0">
              <a:buNone/>
              <a:defRPr sz="2560" b="1"/>
            </a:lvl3pPr>
            <a:lvl4pPr marL="1950636" indent="0">
              <a:buNone/>
              <a:defRPr sz="2275" b="1"/>
            </a:lvl4pPr>
            <a:lvl5pPr marL="2600847" indent="0">
              <a:buNone/>
              <a:defRPr sz="2275" b="1"/>
            </a:lvl5pPr>
            <a:lvl6pPr marL="3251058" indent="0">
              <a:buNone/>
              <a:defRPr sz="2275" b="1"/>
            </a:lvl6pPr>
            <a:lvl7pPr marL="3901271" indent="0">
              <a:buNone/>
              <a:defRPr sz="2275" b="1"/>
            </a:lvl7pPr>
            <a:lvl8pPr marL="4551481" indent="0">
              <a:buNone/>
              <a:defRPr sz="2275" b="1"/>
            </a:lvl8pPr>
            <a:lvl9pPr marL="5201693" indent="0">
              <a:buNone/>
              <a:defRPr sz="2275" b="1"/>
            </a:lvl9pPr>
          </a:lstStyle>
          <a:p>
            <a:pPr lvl="0"/>
            <a:r>
              <a:rPr lang="en-US"/>
              <a:t>Click to edit Master text styles</a:t>
            </a:r>
          </a:p>
        </p:txBody>
      </p:sp>
      <p:sp>
        <p:nvSpPr>
          <p:cNvPr id="6" name="Content Placeholder 5"/>
          <p:cNvSpPr>
            <a:spLocks noGrp="1"/>
          </p:cNvSpPr>
          <p:nvPr>
            <p:ph sz="quarter" idx="4"/>
          </p:nvPr>
        </p:nvSpPr>
        <p:spPr>
          <a:xfrm>
            <a:off x="6965591" y="2948037"/>
            <a:ext cx="5857725" cy="59237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5E2CDE9-C792-A349-B618-1CEE296A64C3}" type="slidenum">
              <a:rPr lang="en-US" smtClean="0"/>
              <a:t>‹#›</a:t>
            </a:fld>
            <a:endParaRPr lang="en-US" dirty="0"/>
          </a:p>
        </p:txBody>
      </p:sp>
      <p:sp>
        <p:nvSpPr>
          <p:cNvPr id="10" name="Title Placeholder 1"/>
          <p:cNvSpPr>
            <a:spLocks noGrp="1"/>
          </p:cNvSpPr>
          <p:nvPr>
            <p:ph type="title"/>
          </p:nvPr>
        </p:nvSpPr>
        <p:spPr>
          <a:xfrm>
            <a:off x="641336" y="5"/>
            <a:ext cx="12181979" cy="1371601"/>
          </a:xfrm>
          <a:prstGeom prst="rect">
            <a:avLst/>
          </a:prstGeom>
        </p:spPr>
        <p:txBody>
          <a:bodyPr vert="horz" lIns="91436" tIns="45718" rIns="91436" bIns="45718"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0043669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srgbClr val="919191"/>
              </a:solidFill>
            </a:endParaRPr>
          </a:p>
        </p:txBody>
      </p:sp>
      <p:sp>
        <p:nvSpPr>
          <p:cNvPr id="4" name="Slide Number Placeholder 3"/>
          <p:cNvSpPr>
            <a:spLocks noGrp="1"/>
          </p:cNvSpPr>
          <p:nvPr>
            <p:ph type="sldNum" sz="quarter" idx="12"/>
          </p:nvPr>
        </p:nvSpPr>
        <p:spPr/>
        <p:txBody>
          <a:bodyPr/>
          <a:lstStyle/>
          <a:p>
            <a:fld id="{25E2CDE9-C792-A349-B618-1CEE296A64C3}" type="slidenum">
              <a:rPr lang="en-US" smtClean="0">
                <a:solidFill>
                  <a:srgbClr val="919191"/>
                </a:solidFill>
              </a:rPr>
              <a:pPr/>
              <a:t>‹#›</a:t>
            </a:fld>
            <a:endParaRPr lang="en-US" dirty="0">
              <a:solidFill>
                <a:srgbClr val="919191"/>
              </a:solidFill>
            </a:endParaRPr>
          </a:p>
        </p:txBody>
      </p:sp>
    </p:spTree>
    <p:extLst>
      <p:ext uri="{BB962C8B-B14F-4D97-AF65-F5344CB8AC3E}">
        <p14:creationId xmlns:p14="http://schemas.microsoft.com/office/powerpoint/2010/main" val="32588277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range">
    <p:spTree>
      <p:nvGrpSpPr>
        <p:cNvPr id="1" name=""/>
        <p:cNvGrpSpPr/>
        <p:nvPr/>
      </p:nvGrpSpPr>
      <p:grpSpPr>
        <a:xfrm>
          <a:off x="0" y="0"/>
          <a:ext cx="0" cy="0"/>
          <a:chOff x="0" y="0"/>
          <a:chExt cx="0" cy="0"/>
        </a:xfrm>
      </p:grpSpPr>
      <p:sp>
        <p:nvSpPr>
          <p:cNvPr id="6" name="Text Placeholder 5"/>
          <p:cNvSpPr>
            <a:spLocks noGrp="1"/>
          </p:cNvSpPr>
          <p:nvPr>
            <p:ph type="body" sz="quarter" idx="22" hasCustomPrompt="1"/>
          </p:nvPr>
        </p:nvSpPr>
        <p:spPr>
          <a:xfrm>
            <a:off x="10007725" y="-76200"/>
            <a:ext cx="1524001" cy="9906000"/>
          </a:xfrm>
          <a:prstGeom prst="rect">
            <a:avLst/>
          </a:prstGeom>
          <a:solidFill>
            <a:srgbClr val="BAD80A"/>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940800" y="609600"/>
            <a:ext cx="3657600" cy="36576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
        <p:nvSpPr>
          <p:cNvPr id="7"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
        <p:nvSpPr>
          <p:cNvPr id="8"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9"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030004517"/>
      </p:ext>
    </p:extLst>
  </p:cSld>
  <p:clrMapOvr>
    <a:masterClrMapping/>
  </p:clrMapOvr>
  <p:transition spd="slow">
    <p:random/>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wo Lines Cont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654EBBEC-1F5B-0A43-B072-71A660DA9E98}" type="slidenum">
              <a:rPr lang="en-US" smtClean="0"/>
              <a:pPr/>
              <a:t>‹#›</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Rectangle 4"/>
          <p:cNvSpPr/>
          <p:nvPr userDrawn="1"/>
        </p:nvSpPr>
        <p:spPr>
          <a:xfrm>
            <a:off x="0" y="9040142"/>
            <a:ext cx="13004800" cy="7134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187" dirty="0"/>
          </a:p>
        </p:txBody>
      </p:sp>
      <p:sp>
        <p:nvSpPr>
          <p:cNvPr id="6" name="Footer Placeholder 4"/>
          <p:cNvSpPr txBox="1">
            <a:spLocks/>
          </p:cNvSpPr>
          <p:nvPr userDrawn="1"/>
        </p:nvSpPr>
        <p:spPr>
          <a:xfrm>
            <a:off x="5786257" y="9040142"/>
            <a:ext cx="1432286" cy="713458"/>
          </a:xfrm>
          <a:prstGeom prst="rect">
            <a:avLst/>
          </a:prstGeom>
          <a:ln>
            <a:noFill/>
          </a:ln>
        </p:spPr>
        <p:txBody>
          <a:bodyPr anchor="ct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60" dirty="0"/>
              <a:t>Confidential</a:t>
            </a:r>
          </a:p>
        </p:txBody>
      </p:sp>
      <p:sp>
        <p:nvSpPr>
          <p:cNvPr id="7" name="Slide Number Placeholder 6"/>
          <p:cNvSpPr txBox="1">
            <a:spLocks/>
          </p:cNvSpPr>
          <p:nvPr userDrawn="1"/>
        </p:nvSpPr>
        <p:spPr>
          <a:xfrm>
            <a:off x="198244" y="9040142"/>
            <a:ext cx="2926080" cy="713458"/>
          </a:xfrm>
          <a:prstGeom prst="rect">
            <a:avLst/>
          </a:prstGeom>
        </p:spPr>
        <p:txBody>
          <a:bodyPr vert="horz" lIns="97536" tIns="48768" rIns="97536" bIns="48768" rtlCol="0" anchor="ct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54EBBEC-1F5B-0A43-B072-71A660DA9E98}" type="slidenum">
              <a:rPr lang="en-US" sz="1280" smtClean="0"/>
              <a:pPr/>
              <a:t>‹#›</a:t>
            </a:fld>
            <a:endParaRPr lang="en-US" sz="1280"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685" y="9238673"/>
            <a:ext cx="1950720" cy="331031"/>
          </a:xfrm>
          <a:prstGeom prst="rect">
            <a:avLst/>
          </a:prstGeom>
        </p:spPr>
      </p:pic>
      <p:sp>
        <p:nvSpPr>
          <p:cNvPr id="11" name="Text Placeholder 12"/>
          <p:cNvSpPr>
            <a:spLocks noGrp="1"/>
          </p:cNvSpPr>
          <p:nvPr>
            <p:ph type="body" sz="quarter" idx="13"/>
          </p:nvPr>
        </p:nvSpPr>
        <p:spPr>
          <a:xfrm>
            <a:off x="541867" y="2540861"/>
            <a:ext cx="11795582" cy="59161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650240" y="2202193"/>
            <a:ext cx="1463040" cy="0"/>
          </a:xfrm>
          <a:prstGeom prst="line">
            <a:avLst/>
          </a:prstGeom>
          <a:ln w="107950"/>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541867" y="111491"/>
            <a:ext cx="11795582" cy="1752036"/>
          </a:xfrm>
        </p:spPr>
        <p:txBody>
          <a:bodyPr anchor="b" anchorCtr="0">
            <a:noAutofit/>
          </a:bodyPr>
          <a:lstStyle>
            <a:lvl1pPr>
              <a:defRPr baseline="0">
                <a:solidFill>
                  <a:schemeClr val="tx2"/>
                </a:solidFill>
              </a:defRPr>
            </a:lvl1pPr>
          </a:lstStyle>
          <a:p>
            <a:r>
              <a:rPr lang="en-US" dirty="0"/>
              <a:t>Blank Slide with Image and a Longer</a:t>
            </a:r>
            <a:br>
              <a:rPr lang="en-US" dirty="0"/>
            </a:br>
            <a:r>
              <a:rPr lang="en-US" dirty="0"/>
              <a:t>Two Line Headline</a:t>
            </a:r>
          </a:p>
        </p:txBody>
      </p:sp>
    </p:spTree>
    <p:extLst>
      <p:ext uri="{BB962C8B-B14F-4D97-AF65-F5344CB8AC3E}">
        <p14:creationId xmlns:p14="http://schemas.microsoft.com/office/powerpoint/2010/main" val="23213257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897232" y="9278850"/>
            <a:ext cx="2926080" cy="519289"/>
          </a:xfrm>
        </p:spPr>
        <p:txBody>
          <a:bodyPr/>
          <a:lstStyle/>
          <a:p>
            <a:fld id="{25E2CDE9-C792-A349-B618-1CEE296A64C3}" type="slidenum">
              <a:rPr lang="en-US" smtClean="0"/>
              <a:t>‹#›</a:t>
            </a:fld>
            <a:endParaRPr lang="en-US" dirty="0"/>
          </a:p>
        </p:txBody>
      </p:sp>
      <p:sp>
        <p:nvSpPr>
          <p:cNvPr id="7" name="Title Placeholder 1"/>
          <p:cNvSpPr>
            <a:spLocks noGrp="1"/>
          </p:cNvSpPr>
          <p:nvPr>
            <p:ph type="title"/>
          </p:nvPr>
        </p:nvSpPr>
        <p:spPr>
          <a:xfrm>
            <a:off x="641334" y="2"/>
            <a:ext cx="12181979" cy="137160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25753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7"/>
            <a:ext cx="11703052" cy="1819274"/>
          </a:xfrm>
          <a:prstGeom prst="rect">
            <a:avLst/>
          </a:prstGeom>
        </p:spPr>
        <p:txBody>
          <a:bodyPr vert="horz" lIns="91036" tIns="45503" rIns="91036" bIns="45503"/>
          <a:lstStyle>
            <a:lvl1pPr>
              <a:defRPr sz="4949">
                <a:solidFill>
                  <a:schemeClr val="tx1"/>
                </a:solidFill>
                <a:latin typeface="Arial" pitchFamily="34" charset="0"/>
                <a:cs typeface="Arial" pitchFamily="34" charset="0"/>
              </a:defRPr>
            </a:lvl1pPr>
          </a:lstStyle>
          <a:p>
            <a:r>
              <a:rPr lang="en-US" dirty="0"/>
              <a:t>TITLE TEXT</a:t>
            </a:r>
          </a:p>
        </p:txBody>
      </p:sp>
      <p:sp>
        <p:nvSpPr>
          <p:cNvPr id="6" name="Text Placeholder 5"/>
          <p:cNvSpPr>
            <a:spLocks noGrp="1"/>
          </p:cNvSpPr>
          <p:nvPr>
            <p:ph type="body" sz="quarter" idx="10"/>
          </p:nvPr>
        </p:nvSpPr>
        <p:spPr>
          <a:xfrm>
            <a:off x="635002" y="2667003"/>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8471009"/>
      </p:ext>
    </p:extLst>
  </p:cSld>
  <p:clrMapOvr>
    <a:masterClrMapping/>
  </p:clrMapOvr>
  <p:transition spd="slow">
    <p:rand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Green">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10693401" y="9414934"/>
            <a:ext cx="3034453" cy="677333"/>
          </a:xfrm>
          <a:prstGeom prst="rect">
            <a:avLst/>
          </a:prstGeom>
          <a:ln/>
        </p:spPr>
        <p:txBody>
          <a:bodyPr/>
          <a:lstStyle>
            <a:lvl1pPr>
              <a:defRPr sz="75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3" name="Footer Placeholder 4"/>
          <p:cNvSpPr>
            <a:spLocks noGrp="1"/>
          </p:cNvSpPr>
          <p:nvPr>
            <p:ph type="ftr" sz="quarter" idx="3"/>
          </p:nvPr>
        </p:nvSpPr>
        <p:spPr>
          <a:xfrm>
            <a:off x="-50800" y="9386888"/>
            <a:ext cx="8458199" cy="519113"/>
          </a:xfrm>
          <a:prstGeom prst="rect">
            <a:avLst/>
          </a:prstGeom>
        </p:spPr>
        <p:txBody>
          <a:bodyPr vert="horz" lIns="91440" tIns="45720" rIns="91440" bIns="45720" rtlCol="0" anchor="ctr"/>
          <a:lstStyle>
            <a:lvl1pPr algn="ctr">
              <a:defRPr sz="900">
                <a:solidFill>
                  <a:schemeClr val="tx1">
                    <a:tint val="75000"/>
                  </a:schemeClr>
                </a:solidFill>
                <a:latin typeface="+mj-lt"/>
              </a:defRPr>
            </a:lvl1pPr>
          </a:lstStyle>
          <a:p>
            <a:endParaRPr lang="en-US" dirty="0"/>
          </a:p>
        </p:txBody>
      </p:sp>
    </p:spTree>
    <p:custDataLst>
      <p:tags r:id="rId1"/>
    </p:custDataLst>
    <p:extLst>
      <p:ext uri="{BB962C8B-B14F-4D97-AF65-F5344CB8AC3E}">
        <p14:creationId xmlns:p14="http://schemas.microsoft.com/office/powerpoint/2010/main" val="2414242205"/>
      </p:ext>
    </p:extLst>
  </p:cSld>
  <p:clrMapOvr>
    <a:masterClrMapping/>
  </p:clrMapOvr>
  <p:transition spd="slow">
    <p:rand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Green">
    <p:spTree>
      <p:nvGrpSpPr>
        <p:cNvPr id="1" name=""/>
        <p:cNvGrpSpPr/>
        <p:nvPr/>
      </p:nvGrpSpPr>
      <p:grpSpPr>
        <a:xfrm>
          <a:off x="0" y="0"/>
          <a:ext cx="0" cy="0"/>
          <a:chOff x="0" y="0"/>
          <a:chExt cx="0" cy="0"/>
        </a:xfrm>
      </p:grpSpPr>
      <p:sp>
        <p:nvSpPr>
          <p:cNvPr id="14" name="Text Placeholder 5"/>
          <p:cNvSpPr>
            <a:spLocks noGrp="1"/>
          </p:cNvSpPr>
          <p:nvPr>
            <p:ph type="body" sz="quarter" idx="22" hasCustomPrompt="1"/>
          </p:nvPr>
        </p:nvSpPr>
        <p:spPr>
          <a:xfrm>
            <a:off x="10007725" y="-76200"/>
            <a:ext cx="1524001" cy="9906000"/>
          </a:xfrm>
          <a:prstGeom prst="rect">
            <a:avLst/>
          </a:prstGeom>
          <a:solidFill>
            <a:srgbClr val="009999"/>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10" name="Text Placeholder 21"/>
          <p:cNvSpPr>
            <a:spLocks noGrp="1"/>
          </p:cNvSpPr>
          <p:nvPr>
            <p:ph type="body" sz="quarter" idx="16" hasCustomPrompt="1"/>
          </p:nvPr>
        </p:nvSpPr>
        <p:spPr>
          <a:xfrm>
            <a:off x="8940800" y="533400"/>
            <a:ext cx="3657600" cy="3657600"/>
          </a:xfrm>
          <a:prstGeom prst="ellipse">
            <a:avLst/>
          </a:prstGeom>
          <a:solidFill>
            <a:srgbClr val="BAD80A"/>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1"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
        <p:nvSpPr>
          <p:cNvPr id="12"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3"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
        <p:nvSpPr>
          <p:cNvPr id="7"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4163803076"/>
      </p:ext>
    </p:extLst>
  </p:cSld>
  <p:clrMapOvr>
    <a:masterClrMapping/>
  </p:clrMapOvr>
  <p:transition spd="slow">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Big Point Bar Orang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BAD80A"/>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
        <p:nvSpPr>
          <p:cNvPr id="4" name="Slide Number Placeholder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649263554"/>
      </p:ext>
    </p:extLst>
  </p:cSld>
  <p:clrMapOvr>
    <a:masterClrMapping/>
  </p:clrMapOvr>
  <p:transition spd="slow">
    <p:rand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Big Point Bar Green">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009999"/>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
        <p:nvSpPr>
          <p:cNvPr id="4" name="Slide Number Placeholder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382257818"/>
      </p:ext>
    </p:extLst>
  </p:cSld>
  <p:clrMapOvr>
    <a:masterClrMapping/>
  </p:clrMapOvr>
  <p:transition spd="slow">
    <p:rand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Point Orange">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0" y="3124325"/>
            <a:ext cx="13004800" cy="3276599"/>
          </a:xfrm>
          <a:prstGeom prst="rect">
            <a:avLst/>
          </a:prstGeom>
          <a:noFill/>
        </p:spPr>
        <p:txBody>
          <a:bodyPr vert="horz" lIns="91036" tIns="45503" rIns="91036" bIns="45503"/>
          <a:lstStyle>
            <a:lvl1pPr algn="ctr">
              <a:defRPr sz="18100" i="0">
                <a:solidFill>
                  <a:srgbClr val="FFFFFF"/>
                </a:solidFill>
                <a:latin typeface="Bitter Regular"/>
                <a:cs typeface="Bitter Regular"/>
              </a:defRPr>
            </a:lvl1pPr>
          </a:lstStyle>
          <a:p>
            <a:pPr lvl="0"/>
            <a:r>
              <a:rPr lang="en-US" dirty="0"/>
              <a:t>POINT</a:t>
            </a:r>
          </a:p>
        </p:txBody>
      </p:sp>
      <p:sp>
        <p:nvSpPr>
          <p:cNvPr id="5" name="Text Placeholder 9"/>
          <p:cNvSpPr>
            <a:spLocks noGrp="1"/>
          </p:cNvSpPr>
          <p:nvPr>
            <p:ph type="body" sz="quarter" idx="10" hasCustomPrompt="1"/>
          </p:nvPr>
        </p:nvSpPr>
        <p:spPr>
          <a:xfrm>
            <a:off x="3378200" y="2590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To highlight a</a:t>
            </a:r>
          </a:p>
        </p:txBody>
      </p:sp>
      <p:sp>
        <p:nvSpPr>
          <p:cNvPr id="6" name="Text Placeholder 9"/>
          <p:cNvSpPr>
            <a:spLocks noGrp="1"/>
          </p:cNvSpPr>
          <p:nvPr>
            <p:ph type="body" sz="quarter" idx="14" hasCustomPrompt="1"/>
          </p:nvPr>
        </p:nvSpPr>
        <p:spPr>
          <a:xfrm>
            <a:off x="3378200" y="5638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of importance</a:t>
            </a:r>
          </a:p>
        </p:txBody>
      </p:sp>
      <p:sp>
        <p:nvSpPr>
          <p:cNvPr id="7" name="Rectangle 3"/>
          <p:cNvSpPr>
            <a:spLocks noGrp="1" noChangeArrowheads="1"/>
          </p:cNvSpPr>
          <p:nvPr>
            <p:ph type="sldNum" sz="quarter" idx="15"/>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548180851"/>
      </p:ext>
    </p:extLst>
  </p:cSld>
  <p:clrMapOvr>
    <a:masterClrMapping/>
  </p:clrMapOvr>
  <p:transition spd="slow">
    <p:rand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2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3"/>
          <p:cNvSpPr>
            <a:spLocks noGrp="1" noChangeArrowheads="1"/>
          </p:cNvSpPr>
          <p:nvPr>
            <p:ph type="sldNum" sz="quarter" idx="4"/>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23"/>
    </p:custDataLst>
  </p:cSld>
  <p:clrMap bg1="lt1" tx1="dk1" bg2="lt2" tx2="dk2" accent1="accent1" accent2="accent2" accent3="accent3" accent4="accent4" accent5="accent5" accent6="accent6" hlink="hlink" folHlink="folHlink"/>
  <p:sldLayoutIdLst>
    <p:sldLayoutId id="2147487417" r:id="rId1"/>
    <p:sldLayoutId id="2147487454" r:id="rId2"/>
    <p:sldLayoutId id="2147487460" r:id="rId3"/>
    <p:sldLayoutId id="2147487419" r:id="rId4"/>
    <p:sldLayoutId id="2147487461" r:id="rId5"/>
    <p:sldLayoutId id="2147487462" r:id="rId6"/>
    <p:sldLayoutId id="2147487425" r:id="rId7"/>
    <p:sldLayoutId id="2147487426" r:id="rId8"/>
    <p:sldLayoutId id="2147487427" r:id="rId9"/>
    <p:sldLayoutId id="2147487430" r:id="rId10"/>
    <p:sldLayoutId id="2147487402" r:id="rId11"/>
    <p:sldLayoutId id="2147487410" r:id="rId12"/>
    <p:sldLayoutId id="2147487434" r:id="rId13"/>
    <p:sldLayoutId id="2147487406" r:id="rId14"/>
    <p:sldLayoutId id="2147487444" r:id="rId15"/>
    <p:sldLayoutId id="2147487463" r:id="rId16"/>
    <p:sldLayoutId id="2147487464" r:id="rId17"/>
    <p:sldLayoutId id="2147487868" r:id="rId18"/>
    <p:sldLayoutId id="2147487888" r:id="rId19"/>
    <p:sldLayoutId id="2147487890" r:id="rId20"/>
    <p:sldLayoutId id="2147487891" r:id="rId21"/>
  </p:sldLayoutIdLst>
  <p:transition spd="slow">
    <p:random/>
  </p:transition>
  <p:hf hdr="0" dt="0"/>
  <p:txStyles>
    <p:title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p:titleStyle>
    <p:bodyStyle>
      <a:lvl1pPr marL="341383" indent="-341383" algn="l" rtl="0" eaLnBrk="1" fontAlgn="base" hangingPunct="1">
        <a:spcBef>
          <a:spcPts val="1099"/>
        </a:spcBef>
        <a:spcAft>
          <a:spcPct val="0"/>
        </a:spcAft>
        <a:defRPr sz="4400">
          <a:solidFill>
            <a:srgbClr val="FFFFFF"/>
          </a:solidFill>
          <a:latin typeface="+mn-lt"/>
          <a:ea typeface="+mn-ea"/>
          <a:cs typeface="+mn-cs"/>
          <a:sym typeface="Lobster Two Italic" charset="0"/>
        </a:defRPr>
      </a:lvl1pPr>
      <a:lvl2pPr marL="644794" indent="-189629" algn="l" rtl="0" eaLnBrk="1" fontAlgn="base" hangingPunct="1">
        <a:spcBef>
          <a:spcPts val="1000"/>
        </a:spcBef>
        <a:spcAft>
          <a:spcPct val="0"/>
        </a:spcAft>
        <a:defRPr sz="3800">
          <a:solidFill>
            <a:srgbClr val="FFFFFF"/>
          </a:solidFill>
          <a:latin typeface="+mn-lt"/>
          <a:ea typeface="+mn-ea"/>
          <a:cs typeface="+mn-cs"/>
          <a:sym typeface="Lobster Two Italic" charset="0"/>
        </a:defRPr>
      </a:lvl2pPr>
      <a:lvl3pPr marL="1289554" indent="-379268" algn="l" rtl="0" eaLnBrk="1" fontAlgn="base" hangingPunct="1">
        <a:spcBef>
          <a:spcPts val="799"/>
        </a:spcBef>
        <a:spcAft>
          <a:spcPct val="0"/>
        </a:spcAft>
        <a:defRPr sz="3400">
          <a:solidFill>
            <a:srgbClr val="FFFFFF"/>
          </a:solidFill>
          <a:latin typeface="+mn-lt"/>
          <a:ea typeface="+mn-ea"/>
          <a:cs typeface="+mn-cs"/>
          <a:sym typeface="Lobster Two Italic" charset="0"/>
        </a:defRPr>
      </a:lvl3pPr>
      <a:lvl4pPr marL="1946992" indent="-581572" algn="l" rtl="0" eaLnBrk="1" fontAlgn="base" hangingPunct="1">
        <a:spcBef>
          <a:spcPts val="700"/>
        </a:spcBef>
        <a:spcAft>
          <a:spcPct val="0"/>
        </a:spcAft>
        <a:defRPr sz="2800">
          <a:solidFill>
            <a:srgbClr val="FFFFFF"/>
          </a:solidFill>
          <a:latin typeface="+mn-lt"/>
          <a:ea typeface="+mn-ea"/>
          <a:cs typeface="+mn-cs"/>
          <a:sym typeface="Lobster Two Italic" charset="0"/>
        </a:defRPr>
      </a:lvl4pPr>
      <a:lvl5pPr marL="2591804" indent="-771205" algn="l" rtl="0" eaLnBrk="1" fontAlgn="base" hangingPunct="1">
        <a:spcBef>
          <a:spcPts val="700"/>
        </a:spcBef>
        <a:spcAft>
          <a:spcPct val="0"/>
        </a:spcAft>
        <a:defRPr sz="2800">
          <a:solidFill>
            <a:srgbClr val="FFFFFF"/>
          </a:solidFill>
          <a:latin typeface="+mn-lt"/>
          <a:ea typeface="+mn-ea"/>
          <a:cs typeface="+mn-cs"/>
          <a:sym typeface="Lobster Two Italic" charset="0"/>
        </a:defRPr>
      </a:lvl5pPr>
      <a:lvl6pPr marL="3046953" algn="l" rtl="0" eaLnBrk="1" fontAlgn="base" hangingPunct="1">
        <a:spcBef>
          <a:spcPts val="700"/>
        </a:spcBef>
        <a:spcAft>
          <a:spcPct val="0"/>
        </a:spcAft>
        <a:defRPr sz="2800">
          <a:solidFill>
            <a:srgbClr val="FFFFFF"/>
          </a:solidFill>
          <a:latin typeface="+mn-lt"/>
          <a:ea typeface="+mn-ea"/>
          <a:cs typeface="+mn-cs"/>
          <a:sym typeface="Lobster Two Italic" charset="0"/>
        </a:defRPr>
      </a:lvl6pPr>
      <a:lvl7pPr marL="3502101" algn="l" rtl="0" eaLnBrk="1" fontAlgn="base" hangingPunct="1">
        <a:spcBef>
          <a:spcPts val="700"/>
        </a:spcBef>
        <a:spcAft>
          <a:spcPct val="0"/>
        </a:spcAft>
        <a:defRPr sz="2800">
          <a:solidFill>
            <a:srgbClr val="FFFFFF"/>
          </a:solidFill>
          <a:latin typeface="+mn-lt"/>
          <a:ea typeface="+mn-ea"/>
          <a:cs typeface="+mn-cs"/>
          <a:sym typeface="Lobster Two Italic" charset="0"/>
        </a:defRPr>
      </a:lvl7pPr>
      <a:lvl8pPr marL="3957256" algn="l" rtl="0" eaLnBrk="1" fontAlgn="base" hangingPunct="1">
        <a:spcBef>
          <a:spcPts val="700"/>
        </a:spcBef>
        <a:spcAft>
          <a:spcPct val="0"/>
        </a:spcAft>
        <a:defRPr sz="2800">
          <a:solidFill>
            <a:srgbClr val="FFFFFF"/>
          </a:solidFill>
          <a:latin typeface="+mn-lt"/>
          <a:ea typeface="+mn-ea"/>
          <a:cs typeface="+mn-cs"/>
          <a:sym typeface="Lobster Two Italic" charset="0"/>
        </a:defRPr>
      </a:lvl8pPr>
      <a:lvl9pPr marL="4412390" algn="l" rtl="0" eaLnBrk="1" fontAlgn="base" hangingPunct="1">
        <a:spcBef>
          <a:spcPts val="700"/>
        </a:spcBef>
        <a:spcAft>
          <a:spcPct val="0"/>
        </a:spcAft>
        <a:defRPr sz="2800">
          <a:solidFill>
            <a:srgbClr val="FFFFFF"/>
          </a:solidFill>
          <a:latin typeface="+mn-lt"/>
          <a:ea typeface="+mn-ea"/>
          <a:cs typeface="+mn-cs"/>
          <a:sym typeface="Lobster Two Italic" charset="0"/>
        </a:defRPr>
      </a:lvl9pPr>
    </p:bodyStyle>
    <p:otherStyle>
      <a:defPPr>
        <a:defRPr lang="en-US"/>
      </a:defPPr>
      <a:lvl1pPr marL="0" algn="l" defTabSz="455125" rtl="0" eaLnBrk="1" latinLnBrk="0" hangingPunct="1">
        <a:defRPr sz="1800" kern="1200">
          <a:solidFill>
            <a:schemeClr val="tx1"/>
          </a:solidFill>
          <a:latin typeface="+mn-lt"/>
          <a:ea typeface="+mn-ea"/>
          <a:cs typeface="+mn-cs"/>
        </a:defRPr>
      </a:lvl1pPr>
      <a:lvl2pPr marL="455125" algn="l" defTabSz="455125" rtl="0" eaLnBrk="1" latinLnBrk="0" hangingPunct="1">
        <a:defRPr sz="1800" kern="1200">
          <a:solidFill>
            <a:schemeClr val="tx1"/>
          </a:solidFill>
          <a:latin typeface="+mn-lt"/>
          <a:ea typeface="+mn-ea"/>
          <a:cs typeface="+mn-cs"/>
        </a:defRPr>
      </a:lvl2pPr>
      <a:lvl3pPr marL="910276" algn="l" defTabSz="455125" rtl="0" eaLnBrk="1" latinLnBrk="0" hangingPunct="1">
        <a:defRPr sz="1800" kern="1200">
          <a:solidFill>
            <a:schemeClr val="tx1"/>
          </a:solidFill>
          <a:latin typeface="+mn-lt"/>
          <a:ea typeface="+mn-ea"/>
          <a:cs typeface="+mn-cs"/>
        </a:defRPr>
      </a:lvl3pPr>
      <a:lvl4pPr marL="1365440" algn="l" defTabSz="455125" rtl="0" eaLnBrk="1" latinLnBrk="0" hangingPunct="1">
        <a:defRPr sz="1800" kern="1200">
          <a:solidFill>
            <a:schemeClr val="tx1"/>
          </a:solidFill>
          <a:latin typeface="+mn-lt"/>
          <a:ea typeface="+mn-ea"/>
          <a:cs typeface="+mn-cs"/>
        </a:defRPr>
      </a:lvl4pPr>
      <a:lvl5pPr marL="1820568" algn="l" defTabSz="455125" rtl="0" eaLnBrk="1" latinLnBrk="0" hangingPunct="1">
        <a:defRPr sz="1800" kern="1200">
          <a:solidFill>
            <a:schemeClr val="tx1"/>
          </a:solidFill>
          <a:latin typeface="+mn-lt"/>
          <a:ea typeface="+mn-ea"/>
          <a:cs typeface="+mn-cs"/>
        </a:defRPr>
      </a:lvl5pPr>
      <a:lvl6pPr marL="2275730" algn="l" defTabSz="455125" rtl="0" eaLnBrk="1" latinLnBrk="0" hangingPunct="1">
        <a:defRPr sz="1800" kern="1200">
          <a:solidFill>
            <a:schemeClr val="tx1"/>
          </a:solidFill>
          <a:latin typeface="+mn-lt"/>
          <a:ea typeface="+mn-ea"/>
          <a:cs typeface="+mn-cs"/>
        </a:defRPr>
      </a:lvl6pPr>
      <a:lvl7pPr marL="2730859" algn="l" defTabSz="455125" rtl="0" eaLnBrk="1" latinLnBrk="0" hangingPunct="1">
        <a:defRPr sz="1800" kern="1200">
          <a:solidFill>
            <a:schemeClr val="tx1"/>
          </a:solidFill>
          <a:latin typeface="+mn-lt"/>
          <a:ea typeface="+mn-ea"/>
          <a:cs typeface="+mn-cs"/>
        </a:defRPr>
      </a:lvl7pPr>
      <a:lvl8pPr marL="3186012" algn="l" defTabSz="455125" rtl="0" eaLnBrk="1" latinLnBrk="0" hangingPunct="1">
        <a:defRPr sz="1800" kern="1200">
          <a:solidFill>
            <a:schemeClr val="tx1"/>
          </a:solidFill>
          <a:latin typeface="+mn-lt"/>
          <a:ea typeface="+mn-ea"/>
          <a:cs typeface="+mn-cs"/>
        </a:defRPr>
      </a:lvl8pPr>
      <a:lvl9pPr marL="3641166" algn="l" defTabSz="4551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0875" y="390525"/>
            <a:ext cx="11703050" cy="1625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50875" y="2276475"/>
            <a:ext cx="11703050" cy="64357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50875" y="9040813"/>
            <a:ext cx="3033713" cy="519112"/>
          </a:xfrm>
          <a:prstGeom prst="rect">
            <a:avLst/>
          </a:prstGeom>
        </p:spPr>
        <p:txBody>
          <a:bodyPr vert="horz" lIns="91440" tIns="45720" rIns="91440" bIns="45720" rtlCol="0" anchor="ctr"/>
          <a:lstStyle>
            <a:lvl1pPr algn="l">
              <a:defRPr sz="1200">
                <a:solidFill>
                  <a:schemeClr val="tx1">
                    <a:tint val="75000"/>
                  </a:schemeClr>
                </a:solidFill>
              </a:defRPr>
            </a:lvl1pPr>
          </a:lstStyle>
          <a:p>
            <a:fld id="{AAB208AC-C283-4F3D-BDC6-3B3355A180C8}" type="datetimeFigureOut">
              <a:rPr lang="en-US" smtClean="0"/>
              <a:pPr/>
              <a:t>6/20/2019</a:t>
            </a:fld>
            <a:endParaRPr lang="en-US"/>
          </a:p>
        </p:txBody>
      </p:sp>
      <p:sp>
        <p:nvSpPr>
          <p:cNvPr id="5" name="Footer Placeholder 4"/>
          <p:cNvSpPr>
            <a:spLocks noGrp="1"/>
          </p:cNvSpPr>
          <p:nvPr>
            <p:ph type="ftr" sz="quarter" idx="3"/>
          </p:nvPr>
        </p:nvSpPr>
        <p:spPr>
          <a:xfrm>
            <a:off x="4443413" y="9040813"/>
            <a:ext cx="4117975" cy="519112"/>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320213" y="9040813"/>
            <a:ext cx="3033712" cy="519112"/>
          </a:xfrm>
          <a:prstGeom prst="rect">
            <a:avLst/>
          </a:prstGeom>
        </p:spPr>
        <p:txBody>
          <a:bodyPr vert="horz" lIns="91440" tIns="45720" rIns="91440" bIns="45720" rtlCol="0" anchor="ctr"/>
          <a:lstStyle>
            <a:lvl1pPr algn="r">
              <a:defRPr sz="1200">
                <a:solidFill>
                  <a:schemeClr val="tx1">
                    <a:tint val="75000"/>
                  </a:schemeClr>
                </a:solidFill>
              </a:defRPr>
            </a:lvl1pPr>
          </a:lstStyle>
          <a:p>
            <a:fld id="{73EC7B5D-813E-4064-A9E3-741A818F476D}" type="slidenum">
              <a:rPr lang="en-US" smtClean="0"/>
              <a:pPr/>
              <a:t>‹#›</a:t>
            </a:fld>
            <a:endParaRPr lang="en-US"/>
          </a:p>
        </p:txBody>
      </p:sp>
    </p:spTree>
    <p:custDataLst>
      <p:tags r:id="rId13"/>
    </p:custDataLst>
  </p:cSld>
  <p:clrMap bg1="lt1" tx1="dk1" bg2="lt2" tx2="dk2" accent1="accent1" accent2="accent2" accent3="accent3" accent4="accent4" accent5="accent5" accent6="accent6" hlink="hlink" folHlink="folHlink"/>
  <p:sldLayoutIdLst>
    <p:sldLayoutId id="2147487877" r:id="rId1"/>
    <p:sldLayoutId id="2147487878" r:id="rId2"/>
    <p:sldLayoutId id="2147487879" r:id="rId3"/>
    <p:sldLayoutId id="2147487880" r:id="rId4"/>
    <p:sldLayoutId id="2147487881" r:id="rId5"/>
    <p:sldLayoutId id="2147487882" r:id="rId6"/>
    <p:sldLayoutId id="2147487883" r:id="rId7"/>
    <p:sldLayoutId id="2147487884" r:id="rId8"/>
    <p:sldLayoutId id="2147487885" r:id="rId9"/>
    <p:sldLayoutId id="2147487886" r:id="rId10"/>
    <p:sldLayoutId id="214748788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4080" y="519290"/>
            <a:ext cx="11216640" cy="188524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94080" y="2596444"/>
            <a:ext cx="11216640" cy="618857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9184640" y="9040143"/>
            <a:ext cx="2926080" cy="519289"/>
          </a:xfrm>
          <a:prstGeom prst="rect">
            <a:avLst/>
          </a:prstGeom>
        </p:spPr>
        <p:txBody>
          <a:bodyPr vert="horz" lIns="91440" tIns="45720" rIns="91440" bIns="45720" rtlCol="0" anchor="ctr"/>
          <a:lstStyle>
            <a:lvl1pPr algn="r">
              <a:defRPr sz="1280">
                <a:solidFill>
                  <a:schemeClr val="bg1"/>
                </a:solidFill>
              </a:defRPr>
            </a:lvl1pPr>
          </a:lstStyle>
          <a:p>
            <a:fld id="{654EBBEC-1F5B-0A43-B072-71A660DA9E98}" type="slidenum">
              <a:rPr lang="en-US" smtClean="0"/>
              <a:pPr/>
              <a:t>‹#›</a:t>
            </a:fld>
            <a:endParaRPr lang="en-US" dirty="0"/>
          </a:p>
        </p:txBody>
      </p:sp>
      <p:sp>
        <p:nvSpPr>
          <p:cNvPr id="7" name="Footer Placeholder 4"/>
          <p:cNvSpPr>
            <a:spLocks noGrp="1"/>
          </p:cNvSpPr>
          <p:nvPr>
            <p:ph type="ftr" sz="quarter" idx="3"/>
          </p:nvPr>
        </p:nvSpPr>
        <p:spPr>
          <a:xfrm>
            <a:off x="5786257" y="9040142"/>
            <a:ext cx="1432286" cy="713458"/>
          </a:xfrm>
          <a:prstGeom prst="rect">
            <a:avLst/>
          </a:prstGeom>
          <a:ln>
            <a:noFill/>
          </a:ln>
        </p:spPr>
        <p:txBody>
          <a:bodyPr anchor="ctr"/>
          <a:lstStyle>
            <a:lvl1pPr algn="ctr">
              <a:defRPr sz="960">
                <a:solidFill>
                  <a:schemeClr val="bg1"/>
                </a:solidFill>
              </a:defRPr>
            </a:lvl1pPr>
          </a:lstStyle>
          <a:p>
            <a:endParaRPr lang="en-US" dirty="0"/>
          </a:p>
        </p:txBody>
      </p:sp>
    </p:spTree>
    <p:extLst>
      <p:ext uri="{BB962C8B-B14F-4D97-AF65-F5344CB8AC3E}">
        <p14:creationId xmlns:p14="http://schemas.microsoft.com/office/powerpoint/2010/main" val="1472657515"/>
      </p:ext>
    </p:extLst>
  </p:cSld>
  <p:clrMap bg1="lt1" tx1="dk1" bg2="lt2" tx2="dk2" accent1="accent1" accent2="accent2" accent3="accent3" accent4="accent4" accent5="accent5" accent6="accent6" hlink="hlink" folHlink="folHlink"/>
  <p:sldLayoutIdLst>
    <p:sldLayoutId id="2147487893" r:id="rId1"/>
    <p:sldLayoutId id="2147487894" r:id="rId2"/>
    <p:sldLayoutId id="2147487895" r:id="rId3"/>
    <p:sldLayoutId id="2147487896" r:id="rId4"/>
    <p:sldLayoutId id="2147487897" r:id="rId5"/>
    <p:sldLayoutId id="2147487898" r:id="rId6"/>
    <p:sldLayoutId id="2147487899" r:id="rId7"/>
    <p:sldLayoutId id="2147487900" r:id="rId8"/>
    <p:sldLayoutId id="2147487901" r:id="rId9"/>
    <p:sldLayoutId id="2147487902" r:id="rId10"/>
    <p:sldLayoutId id="2147487903" r:id="rId11"/>
    <p:sldLayoutId id="2147487904" r:id="rId12"/>
    <p:sldLayoutId id="2147487905" r:id="rId13"/>
    <p:sldLayoutId id="2147487906" r:id="rId14"/>
    <p:sldLayoutId id="2147487907" r:id="rId15"/>
    <p:sldLayoutId id="2147487908" r:id="rId16"/>
    <p:sldLayoutId id="2147487909" r:id="rId17"/>
    <p:sldLayoutId id="2147487910" r:id="rId18"/>
    <p:sldLayoutId id="2147487912" r:id="rId19"/>
    <p:sldLayoutId id="2147487913" r:id="rId20"/>
    <p:sldLayoutId id="2147487914" r:id="rId21"/>
  </p:sldLayoutIdLst>
  <p:hf sldNum="0" hdr="0" ftr="0" dt="0"/>
  <p:txStyles>
    <p:titleStyle>
      <a:lvl1pPr algn="l" defTabSz="975390" rtl="0" eaLnBrk="1" latinLnBrk="0" hangingPunct="1">
        <a:lnSpc>
          <a:spcPct val="90000"/>
        </a:lnSpc>
        <a:spcBef>
          <a:spcPct val="0"/>
        </a:spcBef>
        <a:buNone/>
        <a:defRPr sz="3840" b="1" i="0" kern="1200">
          <a:solidFill>
            <a:schemeClr val="tx2"/>
          </a:solidFill>
          <a:latin typeface="Arial" charset="0"/>
          <a:ea typeface="Arial" charset="0"/>
          <a:cs typeface="Arial" charset="0"/>
        </a:defRPr>
      </a:lvl1pPr>
    </p:titleStyle>
    <p:bodyStyle>
      <a:lvl1pPr marL="243848" indent="-243848" algn="l" defTabSz="975390" rtl="0" eaLnBrk="1" latinLnBrk="0" hangingPunct="1">
        <a:lnSpc>
          <a:spcPct val="90000"/>
        </a:lnSpc>
        <a:spcBef>
          <a:spcPts val="1067"/>
        </a:spcBef>
        <a:buFont typeface="Arial"/>
        <a:buChar char="•"/>
        <a:defRPr sz="2987" kern="1200">
          <a:solidFill>
            <a:schemeClr val="tx2"/>
          </a:solidFill>
          <a:latin typeface="Arial" charset="0"/>
          <a:ea typeface="Arial" charset="0"/>
          <a:cs typeface="Arial" charset="0"/>
        </a:defRPr>
      </a:lvl1pPr>
      <a:lvl2pPr marL="731543" indent="-243848" algn="l" defTabSz="975390" rtl="0" eaLnBrk="1" latinLnBrk="0" hangingPunct="1">
        <a:lnSpc>
          <a:spcPct val="90000"/>
        </a:lnSpc>
        <a:spcBef>
          <a:spcPts val="533"/>
        </a:spcBef>
        <a:buFont typeface="Arial"/>
        <a:buChar char="•"/>
        <a:defRPr sz="2560" kern="1200">
          <a:solidFill>
            <a:schemeClr val="tx2"/>
          </a:solidFill>
          <a:latin typeface="Arial" charset="0"/>
          <a:ea typeface="Arial" charset="0"/>
          <a:cs typeface="Arial" charset="0"/>
        </a:defRPr>
      </a:lvl2pPr>
      <a:lvl3pPr marL="1219238" indent="-243848" algn="l" defTabSz="975390" rtl="0" eaLnBrk="1" latinLnBrk="0" hangingPunct="1">
        <a:lnSpc>
          <a:spcPct val="90000"/>
        </a:lnSpc>
        <a:spcBef>
          <a:spcPts val="533"/>
        </a:spcBef>
        <a:buFont typeface="Arial"/>
        <a:buChar char="•"/>
        <a:defRPr sz="2133" kern="1200">
          <a:solidFill>
            <a:schemeClr val="tx2"/>
          </a:solidFill>
          <a:latin typeface="Arial" charset="0"/>
          <a:ea typeface="Arial" charset="0"/>
          <a:cs typeface="Arial" charset="0"/>
        </a:defRPr>
      </a:lvl3pPr>
      <a:lvl4pPr marL="1706933" indent="-243848" algn="l" defTabSz="975390" rtl="0" eaLnBrk="1" latinLnBrk="0" hangingPunct="1">
        <a:lnSpc>
          <a:spcPct val="90000"/>
        </a:lnSpc>
        <a:spcBef>
          <a:spcPts val="533"/>
        </a:spcBef>
        <a:buFont typeface="Arial"/>
        <a:buChar char="•"/>
        <a:defRPr sz="1920" kern="1200">
          <a:solidFill>
            <a:schemeClr val="tx2"/>
          </a:solidFill>
          <a:latin typeface="Arial" charset="0"/>
          <a:ea typeface="Arial" charset="0"/>
          <a:cs typeface="Arial" charset="0"/>
        </a:defRPr>
      </a:lvl4pPr>
      <a:lvl5pPr marL="2194629" indent="-243848" algn="l" defTabSz="975390" rtl="0" eaLnBrk="1" latinLnBrk="0" hangingPunct="1">
        <a:lnSpc>
          <a:spcPct val="90000"/>
        </a:lnSpc>
        <a:spcBef>
          <a:spcPts val="533"/>
        </a:spcBef>
        <a:buFont typeface="Arial"/>
        <a:buChar char="•"/>
        <a:defRPr sz="1920" kern="1200">
          <a:solidFill>
            <a:schemeClr val="tx2"/>
          </a:solidFill>
          <a:latin typeface="Arial" charset="0"/>
          <a:ea typeface="Arial" charset="0"/>
          <a:cs typeface="Arial" charset="0"/>
        </a:defRPr>
      </a:lvl5pPr>
      <a:lvl6pPr marL="2682324"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6pPr>
      <a:lvl7pPr marL="3170019"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7pPr>
      <a:lvl8pPr marL="3657714"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8pPr>
      <a:lvl9pPr marL="4145410"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6.xml"/><Relationship Id="rId1" Type="http://schemas.openxmlformats.org/officeDocument/2006/relationships/tags" Target="../tags/tag36.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image" Target="../media/image10.pn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6.xml"/><Relationship Id="rId1" Type="http://schemas.openxmlformats.org/officeDocument/2006/relationships/tags" Target="../tags/tag38.xml"/></Relationships>
</file>

<file path=ppt/slides/_rels/slide13.xml.rels><?xml version="1.0" encoding="UTF-8" standalone="yes"?>
<Relationships xmlns="http://schemas.openxmlformats.org/package/2006/relationships"><Relationship Id="rId3" Type="http://schemas.openxmlformats.org/officeDocument/2006/relationships/customXml" Target="../ink/ink9.xml"/><Relationship Id="rId7" Type="http://schemas.openxmlformats.org/officeDocument/2006/relationships/image" Target="../media/image40.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customXml" Target="../ink/ink10.xml"/><Relationship Id="rId5" Type="http://schemas.openxmlformats.org/officeDocument/2006/relationships/image" Target="../media/image15.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41.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1.xml"/><Relationship Id="rId1" Type="http://schemas.openxmlformats.org/officeDocument/2006/relationships/tags" Target="../tags/tag4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1.xml"/><Relationship Id="rId1" Type="http://schemas.openxmlformats.org/officeDocument/2006/relationships/tags" Target="../tags/tag4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46.xml"/><Relationship Id="rId6" Type="http://schemas.openxmlformats.org/officeDocument/2006/relationships/image" Target="../media/image25.png"/><Relationship Id="rId5" Type="http://schemas.openxmlformats.org/officeDocument/2006/relationships/image" Target="../media/image16.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48.xml"/><Relationship Id="rId5" Type="http://schemas.openxmlformats.org/officeDocument/2006/relationships/image" Target="../media/image27.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49.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50.xml"/><Relationship Id="rId5" Type="http://schemas.openxmlformats.org/officeDocument/2006/relationships/image" Target="../media/image16.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19.xml"/><Relationship Id="rId1" Type="http://schemas.openxmlformats.org/officeDocument/2006/relationships/tags" Target="../tags/tag5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52.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0.xml"/><Relationship Id="rId1" Type="http://schemas.openxmlformats.org/officeDocument/2006/relationships/tags" Target="../tags/tag53.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17.xml"/><Relationship Id="rId1" Type="http://schemas.openxmlformats.org/officeDocument/2006/relationships/tags" Target="../tags/tag54.xml"/><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5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29.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10.xml"/><Relationship Id="rId1" Type="http://schemas.openxmlformats.org/officeDocument/2006/relationships/tags" Target="../tags/tag5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5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xml"/><Relationship Id="rId1" Type="http://schemas.openxmlformats.org/officeDocument/2006/relationships/tags" Target="../tags/tag59.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60.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6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2.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4.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5.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6.xml"/></Relationships>
</file>

<file path=ppt/slides/_rels/slide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7.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8.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69.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70.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71.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72.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19.xml"/><Relationship Id="rId1" Type="http://schemas.openxmlformats.org/officeDocument/2006/relationships/tags" Target="../tags/tag7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74.xml"/><Relationship Id="rId4" Type="http://schemas.openxmlformats.org/officeDocument/2006/relationships/image" Target="../media/image39.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75.xml"/><Relationship Id="rId5" Type="http://schemas.openxmlformats.org/officeDocument/2006/relationships/image" Target="../media/image41.png"/><Relationship Id="rId4" Type="http://schemas.openxmlformats.org/officeDocument/2006/relationships/image" Target="../media/image40.gif"/></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9.xml"/><Relationship Id="rId1" Type="http://schemas.openxmlformats.org/officeDocument/2006/relationships/tags" Target="../tags/tag7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77.xml"/><Relationship Id="rId5" Type="http://schemas.openxmlformats.org/officeDocument/2006/relationships/image" Target="../media/image17.png"/><Relationship Id="rId4" Type="http://schemas.openxmlformats.org/officeDocument/2006/relationships/image" Target="../media/image42.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45.png"/></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80.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tags" Target="../tags/tag81.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8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83.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84.xml"/><Relationship Id="rId5" Type="http://schemas.openxmlformats.org/officeDocument/2006/relationships/image" Target="../media/image48.png"/><Relationship Id="rId4" Type="http://schemas.openxmlformats.org/officeDocument/2006/relationships/image" Target="../media/image17.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85.xml"/><Relationship Id="rId4" Type="http://schemas.openxmlformats.org/officeDocument/2006/relationships/image" Target="../media/image45.png"/></Relationships>
</file>

<file path=ppt/slides/_rels/slide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86.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customXml" Target="../ink/ink1.xml"/><Relationship Id="rId7" Type="http://schemas.openxmlformats.org/officeDocument/2006/relationships/image" Target="../media/image40.png"/><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customXml" Target="../ink/ink2.xml"/><Relationship Id="rId5" Type="http://schemas.openxmlformats.org/officeDocument/2006/relationships/image" Target="../media/image15.png"/><Relationship Id="rId4" Type="http://schemas.openxmlformats.org/officeDocument/2006/relationships/image" Target="../media/image38.png"/></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10.xml"/><Relationship Id="rId1" Type="http://schemas.openxmlformats.org/officeDocument/2006/relationships/tags" Target="../tags/tag8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8.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18.xml"/><Relationship Id="rId1" Type="http://schemas.openxmlformats.org/officeDocument/2006/relationships/tags" Target="../tags/tag8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90.xml"/><Relationship Id="rId5" Type="http://schemas.openxmlformats.org/officeDocument/2006/relationships/image" Target="../media/image49.png"/><Relationship Id="rId4" Type="http://schemas.openxmlformats.org/officeDocument/2006/relationships/chart" Target="../charts/chart1.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xml"/><Relationship Id="rId1" Type="http://schemas.openxmlformats.org/officeDocument/2006/relationships/tags" Target="../tags/tag91.xml"/><Relationship Id="rId4" Type="http://schemas.openxmlformats.org/officeDocument/2006/relationships/image" Target="../media/image50.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xml"/><Relationship Id="rId1" Type="http://schemas.openxmlformats.org/officeDocument/2006/relationships/tags" Target="../tags/tag92.xml"/><Relationship Id="rId5" Type="http://schemas.openxmlformats.org/officeDocument/2006/relationships/image" Target="../media/image49.png"/><Relationship Id="rId4" Type="http://schemas.openxmlformats.org/officeDocument/2006/relationships/chart" Target="../charts/chart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xml"/><Relationship Id="rId1" Type="http://schemas.openxmlformats.org/officeDocument/2006/relationships/tags" Target="../tags/tag93.xml"/><Relationship Id="rId5" Type="http://schemas.openxmlformats.org/officeDocument/2006/relationships/image" Target="../media/image49.png"/><Relationship Id="rId4" Type="http://schemas.openxmlformats.org/officeDocument/2006/relationships/chart" Target="../charts/chart3.xml"/></Relationships>
</file>

<file path=ppt/slides/_rels/slide6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1.xml"/><Relationship Id="rId1" Type="http://schemas.openxmlformats.org/officeDocument/2006/relationships/tags" Target="../tags/tag94.xml"/></Relationships>
</file>

<file path=ppt/slides/_rels/slide6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slideLayout" Target="../slideLayouts/slideLayout1.xml"/><Relationship Id="rId1" Type="http://schemas.openxmlformats.org/officeDocument/2006/relationships/tags" Target="../tags/tag95.xml"/><Relationship Id="rId5" Type="http://schemas.openxmlformats.org/officeDocument/2006/relationships/image" Target="../media/image54.png"/><Relationship Id="rId4" Type="http://schemas.openxmlformats.org/officeDocument/2006/relationships/image" Target="../media/image53.emf"/></Relationships>
</file>

<file path=ppt/slides/_rels/slide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17.png"/><Relationship Id="rId7" Type="http://schemas.openxmlformats.org/officeDocument/2006/relationships/customXml" Target="../ink/ink5.xml"/><Relationship Id="rId2" Type="http://schemas.openxmlformats.org/officeDocument/2006/relationships/slideLayout" Target="../slideLayouts/slideLayout16.xml"/><Relationship Id="rId1" Type="http://schemas.openxmlformats.org/officeDocument/2006/relationships/tags" Target="../tags/tag33.xml"/><Relationship Id="rId6" Type="http://schemas.openxmlformats.org/officeDocument/2006/relationships/customXml" Target="../ink/ink4.xml"/><Relationship Id="rId5" Type="http://schemas.openxmlformats.org/officeDocument/2006/relationships/image" Target="../media/image43.png"/><Relationship Id="rId4" Type="http://schemas.openxmlformats.org/officeDocument/2006/relationships/customXml" Target="../ink/ink3.xml"/><Relationship Id="rId9"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1.xml"/><Relationship Id="rId1" Type="http://schemas.openxmlformats.org/officeDocument/2006/relationships/tags" Target="../tags/tag97.xml"/></Relationships>
</file>

<file path=ppt/slides/_rels/slide7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1.xml"/><Relationship Id="rId1" Type="http://schemas.openxmlformats.org/officeDocument/2006/relationships/tags" Target="../tags/tag98.xml"/></Relationships>
</file>

<file path=ppt/slides/_rels/slide7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1.xml"/><Relationship Id="rId1" Type="http://schemas.openxmlformats.org/officeDocument/2006/relationships/tags" Target="../tags/tag99.xml"/></Relationships>
</file>

<file path=ppt/slides/_rels/slide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17.xml"/><Relationship Id="rId1" Type="http://schemas.openxmlformats.org/officeDocument/2006/relationships/tags" Target="../tags/tag100.xml"/></Relationships>
</file>

<file path=ppt/slides/_rels/slide7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17.xml"/><Relationship Id="rId1" Type="http://schemas.openxmlformats.org/officeDocument/2006/relationships/tags" Target="../tags/tag101.xml"/></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17.xml"/><Relationship Id="rId1" Type="http://schemas.openxmlformats.org/officeDocument/2006/relationships/tags" Target="../tags/tag102.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103.xml"/><Relationship Id="rId4" Type="http://schemas.openxmlformats.org/officeDocument/2006/relationships/image" Target="../media/image60.png"/></Relationships>
</file>

<file path=ppt/slides/_rels/slide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53.xml"/><Relationship Id="rId1" Type="http://schemas.openxmlformats.org/officeDocument/2006/relationships/tags" Target="../tags/tag104.xml"/><Relationship Id="rId4" Type="http://schemas.openxmlformats.org/officeDocument/2006/relationships/image" Target="../media/image16.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xml"/><Relationship Id="rId1" Type="http://schemas.openxmlformats.org/officeDocument/2006/relationships/tags" Target="../tags/tag105.xml"/><Relationship Id="rId5" Type="http://schemas.openxmlformats.org/officeDocument/2006/relationships/image" Target="../media/image17.png"/><Relationship Id="rId4" Type="http://schemas.openxmlformats.org/officeDocument/2006/relationships/image" Target="../media/image60.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0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16.png"/><Relationship Id="rId4" Type="http://schemas.openxmlformats.org/officeDocument/2006/relationships/image" Target="../media/image17.png"/></Relationships>
</file>

<file path=ppt/slides/_rels/slide8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28.xml"/><Relationship Id="rId7" Type="http://schemas.openxmlformats.org/officeDocument/2006/relationships/diagramColors" Target="../diagrams/colors7.xml"/><Relationship Id="rId2" Type="http://schemas.openxmlformats.org/officeDocument/2006/relationships/slideLayout" Target="../slideLayouts/slideLayout8.xml"/><Relationship Id="rId1" Type="http://schemas.openxmlformats.org/officeDocument/2006/relationships/tags" Target="../tags/tag107.xml"/><Relationship Id="rId6" Type="http://schemas.openxmlformats.org/officeDocument/2006/relationships/diagramQuickStyle" Target="../diagrams/quickStyle7.xml"/><Relationship Id="rId5" Type="http://schemas.openxmlformats.org/officeDocument/2006/relationships/diagramLayout" Target="../diagrams/layout7.xml"/><Relationship Id="rId10" Type="http://schemas.openxmlformats.org/officeDocument/2006/relationships/image" Target="../media/image62.png"/><Relationship Id="rId4" Type="http://schemas.openxmlformats.org/officeDocument/2006/relationships/diagramData" Target="../diagrams/data7.xml"/><Relationship Id="rId9" Type="http://schemas.openxmlformats.org/officeDocument/2006/relationships/image" Target="../media/image28.pn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65.png"/><Relationship Id="rId2" Type="http://schemas.openxmlformats.org/officeDocument/2006/relationships/slideLayout" Target="../slideLayouts/slideLayout8.xml"/><Relationship Id="rId1" Type="http://schemas.openxmlformats.org/officeDocument/2006/relationships/tags" Target="../tags/tag10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11.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109.xml"/><Relationship Id="rId5" Type="http://schemas.openxmlformats.org/officeDocument/2006/relationships/image" Target="../media/image66.png"/><Relationship Id="rId4" Type="http://schemas.openxmlformats.org/officeDocument/2006/relationships/image" Target="../media/image11.png"/></Relationships>
</file>

<file path=ppt/slides/_rels/slide83.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31.xml"/><Relationship Id="rId7" Type="http://schemas.openxmlformats.org/officeDocument/2006/relationships/diagramColors" Target="../diagrams/colors8.xml"/><Relationship Id="rId2" Type="http://schemas.openxmlformats.org/officeDocument/2006/relationships/slideLayout" Target="../slideLayouts/slideLayout8.xml"/><Relationship Id="rId1" Type="http://schemas.openxmlformats.org/officeDocument/2006/relationships/tags" Target="../tags/tag110.xml"/><Relationship Id="rId6" Type="http://schemas.openxmlformats.org/officeDocument/2006/relationships/diagramQuickStyle" Target="../diagrams/quickStyle8.xml"/><Relationship Id="rId5" Type="http://schemas.openxmlformats.org/officeDocument/2006/relationships/diagramLayout" Target="../diagrams/layout8.xml"/><Relationship Id="rId10" Type="http://schemas.openxmlformats.org/officeDocument/2006/relationships/image" Target="../media/image61.png"/><Relationship Id="rId4" Type="http://schemas.openxmlformats.org/officeDocument/2006/relationships/diagramData" Target="../diagrams/data8.xml"/><Relationship Id="rId9" Type="http://schemas.openxmlformats.org/officeDocument/2006/relationships/image" Target="../media/image67.png"/></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1.xml"/></Relationships>
</file>

<file path=ppt/slides/_rels/slide8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1.xml"/><Relationship Id="rId1" Type="http://schemas.openxmlformats.org/officeDocument/2006/relationships/tags" Target="../tags/tag112.xml"/></Relationships>
</file>

<file path=ppt/slides/_rels/slide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13.xml"/></Relationships>
</file>

<file path=ppt/slides/_rels/slide9.xml.rels><?xml version="1.0" encoding="UTF-8" standalone="yes"?>
<Relationships xmlns="http://schemas.openxmlformats.org/package/2006/relationships"><Relationship Id="rId13" Type="http://schemas.openxmlformats.org/officeDocument/2006/relationships/image" Target="../media/image16.png"/><Relationship Id="rId3" Type="http://schemas.openxmlformats.org/officeDocument/2006/relationships/image" Target="../media/image18.png"/><Relationship Id="rId7" Type="http://schemas.openxmlformats.org/officeDocument/2006/relationships/customXml" Target="../ink/ink7.xml"/><Relationship Id="rId12" Type="http://schemas.openxmlformats.org/officeDocument/2006/relationships/image" Target="../media/image17.png"/><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image" Target="../media/image38.png"/><Relationship Id="rId11" Type="http://schemas.openxmlformats.org/officeDocument/2006/relationships/image" Target="../media/image47.png"/><Relationship Id="rId5" Type="http://schemas.openxmlformats.org/officeDocument/2006/relationships/customXml" Target="../ink/ink6.xml"/><Relationship Id="rId10" Type="http://schemas.openxmlformats.org/officeDocument/2006/relationships/customXml" Target="../ink/ink8.xml"/><Relationship Id="rId4" Type="http://schemas.openxmlformats.org/officeDocument/2006/relationships/image" Target="../media/image19.png"/><Relationship Id="rId9" Type="http://schemas.openxmlformats.org/officeDocument/2006/relationships/image" Target="../media/image40.png"/><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1</a:t>
            </a:fld>
            <a:endParaRPr lang="en-US" dirty="0">
              <a:solidFill>
                <a:prstClr val="black"/>
              </a:solidFill>
            </a:endParaRPr>
          </a:p>
        </p:txBody>
      </p:sp>
      <p:sp>
        <p:nvSpPr>
          <p:cNvPr id="7" name="Rectangle 6">
            <a:extLst>
              <a:ext uri="{FF2B5EF4-FFF2-40B4-BE49-F238E27FC236}">
                <a16:creationId xmlns:a16="http://schemas.microsoft.com/office/drawing/2014/main" id="{6F99E424-84A8-46D8-9671-8C6213DEA7CC}"/>
              </a:ext>
            </a:extLst>
          </p:cNvPr>
          <p:cNvSpPr/>
          <p:nvPr/>
        </p:nvSpPr>
        <p:spPr bwMode="auto">
          <a:xfrm>
            <a:off x="863600" y="6400800"/>
            <a:ext cx="4343400" cy="762000"/>
          </a:xfrm>
          <a:prstGeom prst="rect">
            <a:avLst/>
          </a:prstGeom>
          <a:solidFill>
            <a:schemeClr val="bg1"/>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1266" name="Picture 2"/>
          <p:cNvPicPr>
            <a:picLocks noChangeAspect="1" noChangeArrowheads="1"/>
          </p:cNvPicPr>
          <p:nvPr/>
        </p:nvPicPr>
        <p:blipFill>
          <a:blip r:embed="rId3"/>
          <a:srcRect/>
          <a:stretch>
            <a:fillRect/>
          </a:stretch>
        </p:blipFill>
        <p:spPr bwMode="auto">
          <a:xfrm>
            <a:off x="2311400" y="106681"/>
            <a:ext cx="7673070" cy="7063739"/>
          </a:xfrm>
          <a:prstGeom prst="rect">
            <a:avLst/>
          </a:prstGeom>
          <a:noFill/>
          <a:ln w="9525">
            <a:noFill/>
            <a:miter lim="800000"/>
            <a:headEnd/>
            <a:tailEnd/>
          </a:ln>
        </p:spPr>
      </p:pic>
      <p:pic>
        <p:nvPicPr>
          <p:cNvPr id="11267" name="Picture 3"/>
          <p:cNvPicPr>
            <a:picLocks noChangeAspect="1" noChangeArrowheads="1"/>
          </p:cNvPicPr>
          <p:nvPr/>
        </p:nvPicPr>
        <p:blipFill>
          <a:blip r:embed="rId4"/>
          <a:srcRect/>
          <a:stretch>
            <a:fillRect/>
          </a:stretch>
        </p:blipFill>
        <p:spPr bwMode="auto">
          <a:xfrm>
            <a:off x="1168213" y="7075960"/>
            <a:ext cx="10668374" cy="236945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255554303"/>
      </p:ext>
    </p:extLst>
  </p:cSld>
  <p:clrMapOvr>
    <a:masterClrMapping/>
  </p:clrMapOvr>
  <p:transition spd="slow">
    <p:rand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1192107" y="758614"/>
            <a:ext cx="2275840" cy="227584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5310294" y="758614"/>
            <a:ext cx="2275840" cy="227584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9428480" y="758614"/>
            <a:ext cx="2275840" cy="227584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a:stCxn id="6" idx="6"/>
            <a:endCxn id="10" idx="2"/>
          </p:cNvCxnSpPr>
          <p:nvPr/>
        </p:nvCxnSpPr>
        <p:spPr>
          <a:xfrm>
            <a:off x="3467947" y="1896534"/>
            <a:ext cx="1842347" cy="0"/>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7586134" y="1842347"/>
            <a:ext cx="1842347" cy="0"/>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192107" y="3251201"/>
            <a:ext cx="2817707" cy="1046440"/>
          </a:xfrm>
          <a:prstGeom prst="rect">
            <a:avLst/>
          </a:prstGeom>
          <a:noFill/>
        </p:spPr>
        <p:txBody>
          <a:bodyPr wrap="square" rtlCol="0">
            <a:spAutoFit/>
          </a:bodyPr>
          <a:lstStyle/>
          <a:p>
            <a:pPr algn="ctr"/>
            <a:r>
              <a:rPr lang="en-US" sz="3400" b="1" dirty="0">
                <a:solidFill>
                  <a:srgbClr val="006699"/>
                </a:solidFill>
                <a:latin typeface="Calibri" pitchFamily="34" charset="0"/>
                <a:cs typeface="Leelawadee" pitchFamily="34" charset="-34"/>
              </a:rPr>
              <a:t>EXPERIENTIAL</a:t>
            </a:r>
          </a:p>
          <a:p>
            <a:pPr algn="ctr"/>
            <a:endParaRPr lang="en-US" sz="2800" b="1" dirty="0">
              <a:solidFill>
                <a:srgbClr val="92D050"/>
              </a:solidFill>
            </a:endParaRPr>
          </a:p>
        </p:txBody>
      </p:sp>
      <p:sp>
        <p:nvSpPr>
          <p:cNvPr id="19" name="TextBox 18"/>
          <p:cNvSpPr txBox="1"/>
          <p:nvPr/>
        </p:nvSpPr>
        <p:spPr>
          <a:xfrm>
            <a:off x="5310294" y="3251201"/>
            <a:ext cx="2926080" cy="1092607"/>
          </a:xfrm>
          <a:prstGeom prst="rect">
            <a:avLst/>
          </a:prstGeom>
          <a:noFill/>
        </p:spPr>
        <p:txBody>
          <a:bodyPr wrap="square" rtlCol="0">
            <a:spAutoFit/>
          </a:bodyPr>
          <a:lstStyle/>
          <a:p>
            <a:pPr algn="ctr"/>
            <a:r>
              <a:rPr lang="en-US" sz="3400" b="1" dirty="0">
                <a:solidFill>
                  <a:srgbClr val="92D050"/>
                </a:solidFill>
                <a:latin typeface="Calibri" pitchFamily="34" charset="0"/>
              </a:rPr>
              <a:t>RELATIONSHIP</a:t>
            </a:r>
          </a:p>
          <a:p>
            <a:pPr algn="ctr"/>
            <a:endParaRPr lang="en-US" sz="3100" b="1" dirty="0">
              <a:solidFill>
                <a:srgbClr val="0070C0"/>
              </a:solidFill>
            </a:endParaRPr>
          </a:p>
        </p:txBody>
      </p:sp>
      <p:sp>
        <p:nvSpPr>
          <p:cNvPr id="20" name="TextBox 19"/>
          <p:cNvSpPr txBox="1"/>
          <p:nvPr/>
        </p:nvSpPr>
        <p:spPr>
          <a:xfrm>
            <a:off x="9428480" y="3251201"/>
            <a:ext cx="2492587" cy="1138773"/>
          </a:xfrm>
          <a:prstGeom prst="rect">
            <a:avLst/>
          </a:prstGeom>
          <a:noFill/>
        </p:spPr>
        <p:txBody>
          <a:bodyPr wrap="square" rtlCol="0">
            <a:spAutoFit/>
          </a:bodyPr>
          <a:lstStyle/>
          <a:p>
            <a:pPr algn="ctr"/>
            <a:r>
              <a:rPr lang="en-US" sz="3400" b="1" dirty="0">
                <a:solidFill>
                  <a:schemeClr val="tx1">
                    <a:lumMod val="50000"/>
                    <a:lumOff val="50000"/>
                  </a:schemeClr>
                </a:solidFill>
                <a:latin typeface="Leelawadee" pitchFamily="34" charset="-34"/>
                <a:cs typeface="Leelawadee" pitchFamily="34" charset="-34"/>
              </a:rPr>
              <a:t>FORMAL</a:t>
            </a:r>
          </a:p>
          <a:p>
            <a:pPr algn="ctr"/>
            <a:endParaRPr lang="en-US" sz="3400" b="1" dirty="0">
              <a:solidFill>
                <a:schemeClr val="accent6"/>
              </a:solidFill>
            </a:endParaRPr>
          </a:p>
        </p:txBody>
      </p:sp>
      <p:graphicFrame>
        <p:nvGraphicFramePr>
          <p:cNvPr id="26" name="Table 25"/>
          <p:cNvGraphicFramePr>
            <a:graphicFrameLocks noGrp="1"/>
          </p:cNvGraphicFramePr>
          <p:nvPr/>
        </p:nvGraphicFramePr>
        <p:xfrm>
          <a:off x="433493" y="4038600"/>
          <a:ext cx="3684693" cy="5015653"/>
        </p:xfrm>
        <a:graphic>
          <a:graphicData uri="http://schemas.openxmlformats.org/drawingml/2006/table">
            <a:tbl>
              <a:tblPr bandRow="1">
                <a:tableStyleId>{8799B23B-EC83-4686-B30A-512413B5E67A}</a:tableStyleId>
              </a:tblPr>
              <a:tblGrid>
                <a:gridCol w="3684693">
                  <a:extLst>
                    <a:ext uri="{9D8B030D-6E8A-4147-A177-3AD203B41FA5}">
                      <a16:colId xmlns:a16="http://schemas.microsoft.com/office/drawing/2014/main" val="20000"/>
                    </a:ext>
                  </a:extLst>
                </a:gridCol>
              </a:tblGrid>
              <a:tr h="914400">
                <a:tc>
                  <a:txBody>
                    <a:bodyPr/>
                    <a:lstStyle/>
                    <a:p>
                      <a:r>
                        <a:rPr lang="en-US" sz="2800" dirty="0">
                          <a:solidFill>
                            <a:schemeClr val="bg1"/>
                          </a:solidFill>
                        </a:rPr>
                        <a:t>Challenging</a:t>
                      </a:r>
                      <a:r>
                        <a:rPr lang="en-US" sz="2800" baseline="0" dirty="0">
                          <a:solidFill>
                            <a:schemeClr val="bg1"/>
                          </a:solidFill>
                        </a:rPr>
                        <a:t> Assignment</a:t>
                      </a:r>
                      <a:endParaRPr lang="en-US" sz="2800" b="0"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0"/>
                  </a:ext>
                </a:extLst>
              </a:tr>
              <a:tr h="563541">
                <a:tc>
                  <a:txBody>
                    <a:bodyPr/>
                    <a:lstStyle/>
                    <a:p>
                      <a:r>
                        <a:rPr lang="en-US" sz="2800" dirty="0">
                          <a:solidFill>
                            <a:srgbClr val="006699"/>
                          </a:solidFill>
                        </a:rPr>
                        <a:t>Hardship</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1"/>
                  </a:ext>
                </a:extLst>
              </a:tr>
              <a:tr h="997035">
                <a:tc>
                  <a:txBody>
                    <a:bodyPr/>
                    <a:lstStyle/>
                    <a:p>
                      <a:r>
                        <a:rPr lang="en-US" sz="2800" dirty="0">
                          <a:solidFill>
                            <a:schemeClr val="bg1"/>
                          </a:solidFill>
                        </a:rPr>
                        <a:t>New Task – had</a:t>
                      </a:r>
                      <a:r>
                        <a:rPr lang="en-US" sz="2800" baseline="0" dirty="0">
                          <a:solidFill>
                            <a:schemeClr val="bg1"/>
                          </a:solidFill>
                        </a:rPr>
                        <a:t> to figure it out</a:t>
                      </a:r>
                      <a:endParaRPr lang="en-US" sz="2800" b="1"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2"/>
                  </a:ext>
                </a:extLst>
              </a:tr>
              <a:tr h="642789">
                <a:tc>
                  <a:txBody>
                    <a:bodyPr/>
                    <a:lstStyle/>
                    <a:p>
                      <a:r>
                        <a:rPr lang="en-US" sz="2800" dirty="0">
                          <a:solidFill>
                            <a:srgbClr val="006699"/>
                          </a:solidFill>
                        </a:rPr>
                        <a:t>Filled in for someone</a:t>
                      </a:r>
                      <a:r>
                        <a:rPr lang="en-US" sz="2800" baseline="0" dirty="0">
                          <a:solidFill>
                            <a:srgbClr val="006699"/>
                          </a:solidFill>
                        </a:rPr>
                        <a:t> </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Continual</a:t>
                      </a:r>
                      <a:r>
                        <a:rPr lang="en-US" sz="2800" baseline="0" dirty="0">
                          <a:solidFill>
                            <a:schemeClr val="bg1"/>
                          </a:solidFill>
                        </a:rPr>
                        <a:t> Practice</a:t>
                      </a:r>
                      <a:endParaRPr lang="en-US" sz="2800" b="1"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4"/>
                  </a:ext>
                </a:extLst>
              </a:tr>
              <a:tr h="1265259">
                <a:tc>
                  <a:txBody>
                    <a:bodyPr/>
                    <a:lstStyle/>
                    <a:p>
                      <a:r>
                        <a:rPr lang="en-US" sz="2800" dirty="0">
                          <a:solidFill>
                            <a:srgbClr val="006699"/>
                          </a:solidFill>
                        </a:rPr>
                        <a:t>Responsible for major deliverable</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5"/>
                  </a:ext>
                </a:extLst>
              </a:tr>
            </a:tbl>
          </a:graphicData>
        </a:graphic>
      </p:graphicFrame>
      <p:graphicFrame>
        <p:nvGraphicFramePr>
          <p:cNvPr id="27" name="Table 26"/>
          <p:cNvGraphicFramePr>
            <a:graphicFrameLocks noGrp="1"/>
          </p:cNvGraphicFramePr>
          <p:nvPr/>
        </p:nvGraphicFramePr>
        <p:xfrm>
          <a:off x="4876800" y="4191000"/>
          <a:ext cx="3684693" cy="2817705"/>
        </p:xfrm>
        <a:graphic>
          <a:graphicData uri="http://schemas.openxmlformats.org/drawingml/2006/table">
            <a:tbl>
              <a:tblPr bandRow="1">
                <a:tableStyleId>{8799B23B-EC83-4686-B30A-512413B5E67A}</a:tableStyleId>
              </a:tblPr>
              <a:tblGrid>
                <a:gridCol w="3684693">
                  <a:extLst>
                    <a:ext uri="{9D8B030D-6E8A-4147-A177-3AD203B41FA5}">
                      <a16:colId xmlns:a16="http://schemas.microsoft.com/office/drawing/2014/main" val="20000"/>
                    </a:ext>
                  </a:extLst>
                </a:gridCol>
              </a:tblGrid>
              <a:tr h="563541">
                <a:tc>
                  <a:txBody>
                    <a:bodyPr/>
                    <a:lstStyle/>
                    <a:p>
                      <a:r>
                        <a:rPr lang="en-US" sz="2800" b="0" dirty="0">
                          <a:solidFill>
                            <a:schemeClr val="bg1"/>
                          </a:solidFill>
                        </a:rPr>
                        <a:t>Mentor</a:t>
                      </a:r>
                      <a:endParaRPr lang="en-US" sz="2800" b="0"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0"/>
                  </a:ext>
                </a:extLst>
              </a:tr>
              <a:tr h="563541">
                <a:tc>
                  <a:txBody>
                    <a:bodyPr/>
                    <a:lstStyle/>
                    <a:p>
                      <a:r>
                        <a:rPr lang="en-US" sz="2800" dirty="0">
                          <a:solidFill>
                            <a:srgbClr val="92D050"/>
                          </a:solidFill>
                        </a:rPr>
                        <a:t>Manager</a:t>
                      </a:r>
                      <a:endParaRPr lang="en-US" sz="2800" b="1" dirty="0">
                        <a:solidFill>
                          <a:srgbClr val="92D050"/>
                        </a:solidFill>
                        <a:latin typeface="Calibri" pitchFamily="34" charset="0"/>
                      </a:endParaRPr>
                    </a:p>
                  </a:txBody>
                  <a:tcPr marL="130048" marR="130048" marT="65024" marB="65024"/>
                </a:tc>
                <a:extLst>
                  <a:ext uri="{0D108BD9-81ED-4DB2-BD59-A6C34878D82A}">
                    <a16:rowId xmlns:a16="http://schemas.microsoft.com/office/drawing/2014/main" val="10001"/>
                  </a:ext>
                </a:extLst>
              </a:tr>
              <a:tr h="563541">
                <a:tc>
                  <a:txBody>
                    <a:bodyPr/>
                    <a:lstStyle/>
                    <a:p>
                      <a:r>
                        <a:rPr lang="en-US" sz="2800" dirty="0">
                          <a:solidFill>
                            <a:schemeClr val="bg1"/>
                          </a:solidFill>
                        </a:rPr>
                        <a:t>Coach</a:t>
                      </a:r>
                      <a:endParaRPr lang="en-US" sz="2800" b="1"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2"/>
                  </a:ext>
                </a:extLst>
              </a:tr>
              <a:tr h="563541">
                <a:tc>
                  <a:txBody>
                    <a:bodyPr/>
                    <a:lstStyle/>
                    <a:p>
                      <a:r>
                        <a:rPr lang="en-US" sz="2800" dirty="0">
                          <a:solidFill>
                            <a:srgbClr val="92D050"/>
                          </a:solidFill>
                        </a:rPr>
                        <a:t>Peer</a:t>
                      </a:r>
                      <a:endParaRPr lang="en-US" sz="2800" b="1" dirty="0">
                        <a:solidFill>
                          <a:srgbClr val="92D050"/>
                        </a:solidFill>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Other (person)</a:t>
                      </a:r>
                      <a:endParaRPr lang="en-US" sz="2800" b="1"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4"/>
                  </a:ext>
                </a:extLst>
              </a:tr>
            </a:tbl>
          </a:graphicData>
        </a:graphic>
      </p:graphicFrame>
      <p:graphicFrame>
        <p:nvGraphicFramePr>
          <p:cNvPr id="28" name="Table 27"/>
          <p:cNvGraphicFramePr>
            <a:graphicFrameLocks noGrp="1"/>
          </p:cNvGraphicFramePr>
          <p:nvPr/>
        </p:nvGraphicFramePr>
        <p:xfrm>
          <a:off x="9211733" y="4267200"/>
          <a:ext cx="3142827" cy="2817705"/>
        </p:xfrm>
        <a:graphic>
          <a:graphicData uri="http://schemas.openxmlformats.org/drawingml/2006/table">
            <a:tbl>
              <a:tblPr bandRow="1">
                <a:tableStyleId>{E8B1032C-EA38-4F05-BA0D-38AFFFC7BED3}</a:tableStyleId>
              </a:tblPr>
              <a:tblGrid>
                <a:gridCol w="3142827">
                  <a:extLst>
                    <a:ext uri="{9D8B030D-6E8A-4147-A177-3AD203B41FA5}">
                      <a16:colId xmlns:a16="http://schemas.microsoft.com/office/drawing/2014/main" val="20000"/>
                    </a:ext>
                  </a:extLst>
                </a:gridCol>
              </a:tblGrid>
              <a:tr h="563541">
                <a:tc>
                  <a:txBody>
                    <a:bodyPr/>
                    <a:lstStyle/>
                    <a:p>
                      <a:r>
                        <a:rPr lang="en-US" sz="2800" b="0" dirty="0">
                          <a:solidFill>
                            <a:schemeClr val="bg1"/>
                          </a:solidFill>
                        </a:rPr>
                        <a:t>Class</a:t>
                      </a:r>
                      <a:endParaRPr lang="en-US" sz="2800" b="0" dirty="0">
                        <a:solidFill>
                          <a:schemeClr val="bg1"/>
                        </a:solidFill>
                        <a:latin typeface="Calibri" pitchFamily="34" charset="0"/>
                      </a:endParaRPr>
                    </a:p>
                  </a:txBody>
                  <a:tcPr marL="130048" marR="130048" marT="65024" marB="65024">
                    <a:solidFill>
                      <a:schemeClr val="tx1">
                        <a:lumMod val="65000"/>
                        <a:lumOff val="35000"/>
                        <a:alpha val="79000"/>
                      </a:schemeClr>
                    </a:solidFill>
                  </a:tcPr>
                </a:tc>
                <a:extLst>
                  <a:ext uri="{0D108BD9-81ED-4DB2-BD59-A6C34878D82A}">
                    <a16:rowId xmlns:a16="http://schemas.microsoft.com/office/drawing/2014/main" val="10000"/>
                  </a:ext>
                </a:extLst>
              </a:tr>
              <a:tr h="563541">
                <a:tc>
                  <a:txBody>
                    <a:bodyPr/>
                    <a:lstStyle/>
                    <a:p>
                      <a:r>
                        <a:rPr lang="en-US" sz="2800" dirty="0"/>
                        <a:t>Book</a:t>
                      </a:r>
                      <a:endParaRPr lang="en-US" sz="2800" b="1" dirty="0">
                        <a:latin typeface="Calibri" pitchFamily="34" charset="0"/>
                      </a:endParaRPr>
                    </a:p>
                  </a:txBody>
                  <a:tcPr marL="130048" marR="130048" marT="65024" marB="65024"/>
                </a:tc>
                <a:extLst>
                  <a:ext uri="{0D108BD9-81ED-4DB2-BD59-A6C34878D82A}">
                    <a16:rowId xmlns:a16="http://schemas.microsoft.com/office/drawing/2014/main" val="10001"/>
                  </a:ext>
                </a:extLst>
              </a:tr>
              <a:tr h="563541">
                <a:tc>
                  <a:txBody>
                    <a:bodyPr/>
                    <a:lstStyle/>
                    <a:p>
                      <a:r>
                        <a:rPr lang="en-US" sz="2800" dirty="0">
                          <a:solidFill>
                            <a:schemeClr val="bg1"/>
                          </a:solidFill>
                        </a:rPr>
                        <a:t>Research</a:t>
                      </a:r>
                      <a:endParaRPr lang="en-US" sz="2800" b="1" dirty="0">
                        <a:solidFill>
                          <a:schemeClr val="bg1"/>
                        </a:solidFill>
                        <a:latin typeface="Calibri" pitchFamily="34" charset="0"/>
                      </a:endParaRPr>
                    </a:p>
                  </a:txBody>
                  <a:tcPr marL="130048" marR="130048" marT="65024" marB="65024">
                    <a:solidFill>
                      <a:schemeClr val="tx1">
                        <a:lumMod val="50000"/>
                        <a:lumOff val="50000"/>
                        <a:alpha val="97000"/>
                      </a:schemeClr>
                    </a:solidFill>
                  </a:tcPr>
                </a:tc>
                <a:extLst>
                  <a:ext uri="{0D108BD9-81ED-4DB2-BD59-A6C34878D82A}">
                    <a16:rowId xmlns:a16="http://schemas.microsoft.com/office/drawing/2014/main" val="10002"/>
                  </a:ext>
                </a:extLst>
              </a:tr>
              <a:tr h="563541">
                <a:tc>
                  <a:txBody>
                    <a:bodyPr/>
                    <a:lstStyle/>
                    <a:p>
                      <a:r>
                        <a:rPr lang="en-US" sz="2800" dirty="0"/>
                        <a:t>Conference</a:t>
                      </a:r>
                      <a:endParaRPr lang="en-US" sz="2800" b="1" dirty="0">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Training</a:t>
                      </a:r>
                      <a:endParaRPr lang="en-US" sz="2800" b="1" dirty="0">
                        <a:solidFill>
                          <a:schemeClr val="bg1"/>
                        </a:solidFill>
                        <a:latin typeface="Calibri" pitchFamily="34" charset="0"/>
                      </a:endParaRPr>
                    </a:p>
                  </a:txBody>
                  <a:tcPr marL="130048" marR="130048" marT="65024" marB="65024">
                    <a:solidFill>
                      <a:schemeClr val="tx1">
                        <a:lumMod val="50000"/>
                        <a:lumOff val="50000"/>
                      </a:schemeClr>
                    </a:solidFill>
                  </a:tcPr>
                </a:tc>
                <a:extLst>
                  <a:ext uri="{0D108BD9-81ED-4DB2-BD59-A6C34878D82A}">
                    <a16:rowId xmlns:a16="http://schemas.microsoft.com/office/drawing/2014/main" val="10004"/>
                  </a:ext>
                </a:extLst>
              </a:tr>
            </a:tbl>
          </a:graphicData>
        </a:graphic>
      </p:graphicFrame>
      <p:sp>
        <p:nvSpPr>
          <p:cNvPr id="14" name="Slide Number Placeholder 1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10</a:t>
            </a:fld>
            <a:endParaRPr lang="en-US" dirty="0">
              <a:solidFill>
                <a:prstClr val="black"/>
              </a:solidFill>
            </a:endParaRPr>
          </a:p>
        </p:txBody>
      </p:sp>
      <p:grpSp>
        <p:nvGrpSpPr>
          <p:cNvPr id="16" name="Group 15">
            <a:extLst>
              <a:ext uri="{FF2B5EF4-FFF2-40B4-BE49-F238E27FC236}">
                <a16:creationId xmlns:a16="http://schemas.microsoft.com/office/drawing/2014/main" id="{9961B560-A4C4-4CEA-BF2D-1E3E227387E9}"/>
              </a:ext>
            </a:extLst>
          </p:cNvPr>
          <p:cNvGrpSpPr/>
          <p:nvPr/>
        </p:nvGrpSpPr>
        <p:grpSpPr>
          <a:xfrm>
            <a:off x="9855200" y="9001780"/>
            <a:ext cx="2717800" cy="675620"/>
            <a:chOff x="11150600" y="7086600"/>
            <a:chExt cx="1270000" cy="675620"/>
          </a:xfrm>
        </p:grpSpPr>
        <p:pic>
          <p:nvPicPr>
            <p:cNvPr id="21" name="Picture 2">
              <a:extLst>
                <a:ext uri="{FF2B5EF4-FFF2-40B4-BE49-F238E27FC236}">
                  <a16:creationId xmlns:a16="http://schemas.microsoft.com/office/drawing/2014/main" id="{546F87F5-BA26-40AE-9683-9369963DAD66}"/>
                </a:ext>
              </a:extLst>
            </p:cNvPr>
            <p:cNvPicPr>
              <a:picLocks noChangeAspect="1" noChangeArrowheads="1"/>
            </p:cNvPicPr>
            <p:nvPr/>
          </p:nvPicPr>
          <p:blipFill>
            <a:blip r:embed="rId3"/>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2" name="TextBox 21">
              <a:extLst>
                <a:ext uri="{FF2B5EF4-FFF2-40B4-BE49-F238E27FC236}">
                  <a16:creationId xmlns:a16="http://schemas.microsoft.com/office/drawing/2014/main" id="{C1067B2A-D1BB-4673-AC81-726CC508528D}"/>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8 </a:t>
              </a:r>
            </a:p>
          </p:txBody>
        </p:sp>
      </p:grpSp>
      <p:sp>
        <p:nvSpPr>
          <p:cNvPr id="23" name="TextBox 22">
            <a:extLst>
              <a:ext uri="{FF2B5EF4-FFF2-40B4-BE49-F238E27FC236}">
                <a16:creationId xmlns:a16="http://schemas.microsoft.com/office/drawing/2014/main" id="{A3640B99-1861-418A-8DD6-9211AB199945}"/>
              </a:ext>
            </a:extLst>
          </p:cNvPr>
          <p:cNvSpPr txBox="1"/>
          <p:nvPr/>
        </p:nvSpPr>
        <p:spPr>
          <a:xfrm>
            <a:off x="215900" y="80934"/>
            <a:ext cx="12573000" cy="2101086"/>
          </a:xfrm>
          <a:prstGeom prst="rect">
            <a:avLst/>
          </a:prstGeom>
          <a:noFill/>
        </p:spPr>
        <p:txBody>
          <a:bodyPr wrap="square" lIns="130046" tIns="65023" rIns="130046" bIns="65023" rtlCol="0">
            <a:spAutoFit/>
          </a:bodyPr>
          <a:lstStyle/>
          <a:p>
            <a:r>
              <a:rPr lang="en-US" sz="3200" b="1" dirty="0">
                <a:solidFill>
                  <a:srgbClr val="0080C0"/>
                </a:solidFill>
                <a:latin typeface="Calibri" pitchFamily="34" charset="0"/>
              </a:rPr>
              <a:t>Professional Growth comes from these learning categories</a:t>
            </a:r>
            <a:endParaRPr lang="en-US" sz="3200" dirty="0">
              <a:solidFill>
                <a:srgbClr val="0080C0"/>
              </a:solidFill>
              <a:latin typeface="Calibri" pitchFamily="34" charset="0"/>
            </a:endParaRPr>
          </a:p>
          <a:p>
            <a:endParaRPr lang="en-US" sz="3200" b="1" dirty="0">
              <a:solidFill>
                <a:schemeClr val="bg1"/>
              </a:solidFill>
              <a:latin typeface="Calibri" pitchFamily="34" charset="0"/>
            </a:endParaRPr>
          </a:p>
          <a:p>
            <a:endParaRPr lang="en-US" sz="3200" b="1" dirty="0">
              <a:solidFill>
                <a:schemeClr val="bg1"/>
              </a:solidFill>
              <a:latin typeface="Calibri" pitchFamily="34" charset="0"/>
            </a:endParaRPr>
          </a:p>
          <a:p>
            <a:r>
              <a:rPr lang="en-US" sz="3200" b="1" dirty="0">
                <a:solidFill>
                  <a:schemeClr val="bg1"/>
                </a:solidFill>
                <a:latin typeface="Calibri" pitchFamily="34" charset="0"/>
              </a:rPr>
              <a:t>  </a:t>
            </a:r>
            <a:endParaRPr lang="en-US" sz="3200" b="1" dirty="0">
              <a:solidFill>
                <a:srgbClr val="0070C0"/>
              </a:solidFill>
            </a:endParaRPr>
          </a:p>
        </p:txBody>
      </p:sp>
    </p:spTree>
    <p:custDataLst>
      <p:tags r:id="rId1"/>
    </p:custDataLst>
    <p:extLst>
      <p:ext uri="{BB962C8B-B14F-4D97-AF65-F5344CB8AC3E}">
        <p14:creationId xmlns:p14="http://schemas.microsoft.com/office/powerpoint/2010/main" val="703133947"/>
      </p:ext>
    </p:extLst>
  </p:cSld>
  <p:clrMapOvr>
    <a:masterClrMapping/>
  </p:clrMapOvr>
  <p:transition spd="slow">
    <p:random/>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11</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4521200" y="685800"/>
            <a:ext cx="7543800" cy="7239000"/>
          </a:xfrm>
          <a:prstGeom prst="wedgeRectCallout">
            <a:avLst>
              <a:gd name="adj1" fmla="val -22103"/>
              <a:gd name="adj2" fmla="val 63764"/>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nvGrpSpPr>
          <p:cNvPr id="12" name="Group 11"/>
          <p:cNvGrpSpPr/>
          <p:nvPr/>
        </p:nvGrpSpPr>
        <p:grpSpPr>
          <a:xfrm>
            <a:off x="0" y="0"/>
            <a:ext cx="13004800" cy="9753600"/>
            <a:chOff x="0" y="0"/>
            <a:chExt cx="13004800" cy="9753600"/>
          </a:xfrm>
        </p:grpSpPr>
        <p:pic>
          <p:nvPicPr>
            <p:cNvPr id="11" name="Picture 10" descr="0010.jpg"/>
            <p:cNvPicPr>
              <a:picLocks noChangeAspect="1"/>
            </p:cNvPicPr>
            <p:nvPr/>
          </p:nvPicPr>
          <p:blipFill>
            <a:blip r:embed="rId3"/>
            <a:stretch>
              <a:fillRect/>
            </a:stretch>
          </p:blipFill>
          <p:spPr>
            <a:xfrm>
              <a:off x="0" y="0"/>
              <a:ext cx="13004800" cy="9753600"/>
            </a:xfrm>
            <a:prstGeom prst="rect">
              <a:avLst/>
            </a:prstGeom>
          </p:spPr>
        </p:pic>
        <p:pic>
          <p:nvPicPr>
            <p:cNvPr id="4098" name="Picture 2"/>
            <p:cNvPicPr>
              <a:picLocks noChangeAspect="1" noChangeArrowheads="1"/>
            </p:cNvPicPr>
            <p:nvPr/>
          </p:nvPicPr>
          <p:blipFill>
            <a:blip r:embed="rId4"/>
            <a:srcRect/>
            <a:stretch>
              <a:fillRect/>
            </a:stretch>
          </p:blipFill>
          <p:spPr bwMode="auto">
            <a:xfrm>
              <a:off x="8331200" y="8229600"/>
              <a:ext cx="3733800" cy="1079500"/>
            </a:xfrm>
            <a:prstGeom prst="rect">
              <a:avLst/>
            </a:prstGeom>
            <a:noFill/>
            <a:ln w="9525">
              <a:noFill/>
              <a:miter lim="800000"/>
              <a:headEnd/>
              <a:tailEnd/>
            </a:ln>
          </p:spPr>
        </p:pic>
      </p:grpSp>
      <p:pic>
        <p:nvPicPr>
          <p:cNvPr id="13" name="Picture 2"/>
          <p:cNvPicPr>
            <a:picLocks noChangeAspect="1" noChangeArrowheads="1"/>
          </p:cNvPicPr>
          <p:nvPr/>
        </p:nvPicPr>
        <p:blipFill>
          <a:blip r:embed="rId5"/>
          <a:srcRect/>
          <a:stretch>
            <a:fillRect/>
          </a:stretch>
        </p:blipFill>
        <p:spPr bwMode="auto">
          <a:xfrm>
            <a:off x="7569200" y="838200"/>
            <a:ext cx="4431626" cy="5077293"/>
          </a:xfrm>
          <a:prstGeom prst="rect">
            <a:avLst/>
          </a:prstGeom>
          <a:noFill/>
          <a:ln w="9525">
            <a:noFill/>
            <a:miter lim="800000"/>
            <a:headEnd/>
            <a:tailEnd/>
          </a:ln>
        </p:spPr>
      </p:pic>
      <p:grpSp>
        <p:nvGrpSpPr>
          <p:cNvPr id="17" name="Group 16"/>
          <p:cNvGrpSpPr/>
          <p:nvPr/>
        </p:nvGrpSpPr>
        <p:grpSpPr>
          <a:xfrm rot="21115165">
            <a:off x="8704491" y="5221423"/>
            <a:ext cx="2971800" cy="3352800"/>
            <a:chOff x="3206983" y="5006248"/>
            <a:chExt cx="2971800" cy="3352800"/>
          </a:xfrm>
        </p:grpSpPr>
        <p:pic>
          <p:nvPicPr>
            <p:cNvPr id="15" name="Picture 2"/>
            <p:cNvPicPr>
              <a:picLocks noChangeAspect="1" noChangeArrowheads="1"/>
            </p:cNvPicPr>
            <p:nvPr/>
          </p:nvPicPr>
          <p:blipFill>
            <a:blip r:embed="rId6"/>
            <a:srcRect/>
            <a:stretch>
              <a:fillRect/>
            </a:stretch>
          </p:blipFill>
          <p:spPr bwMode="auto">
            <a:xfrm>
              <a:off x="3206983" y="5006248"/>
              <a:ext cx="2971800" cy="3352800"/>
            </a:xfrm>
            <a:prstGeom prst="rect">
              <a:avLst/>
            </a:prstGeom>
            <a:ln>
              <a:noFill/>
            </a:ln>
            <a:effectLst>
              <a:outerShdw blurRad="292100" dist="139700" dir="2700000" algn="tl" rotWithShape="0">
                <a:srgbClr val="333333">
                  <a:alpha val="65000"/>
                </a:srgbClr>
              </a:outerShdw>
            </a:effectLst>
          </p:spPr>
        </p:pic>
        <p:sp>
          <p:nvSpPr>
            <p:cNvPr id="16" name="TextBox 15"/>
            <p:cNvSpPr txBox="1"/>
            <p:nvPr/>
          </p:nvSpPr>
          <p:spPr>
            <a:xfrm rot="21124563">
              <a:off x="3753436" y="5328282"/>
              <a:ext cx="1865271" cy="2308324"/>
            </a:xfrm>
            <a:prstGeom prst="rect">
              <a:avLst/>
            </a:prstGeom>
            <a:noFill/>
          </p:spPr>
          <p:txBody>
            <a:bodyPr wrap="square" rtlCol="0">
              <a:spAutoFit/>
            </a:bodyPr>
            <a:lstStyle/>
            <a:p>
              <a:r>
                <a:rPr lang="en-US" sz="1800" dirty="0">
                  <a:latin typeface="Heather BTN" pitchFamily="66" charset="0"/>
                </a:rPr>
                <a:t>When I worked on the Sales Training Framework with the Sales team and was then able to create a curriculum that helped increase sales.</a:t>
              </a:r>
            </a:p>
          </p:txBody>
        </p:sp>
      </p:grpSp>
      <p:sp>
        <p:nvSpPr>
          <p:cNvPr id="18" name="Rectangle 17"/>
          <p:cNvSpPr/>
          <p:nvPr/>
        </p:nvSpPr>
        <p:spPr>
          <a:xfrm>
            <a:off x="939800" y="990600"/>
            <a:ext cx="5791200" cy="6678751"/>
          </a:xfrm>
          <a:prstGeom prst="rect">
            <a:avLst/>
          </a:prstGeom>
        </p:spPr>
        <p:txBody>
          <a:bodyPr wrap="square">
            <a:spAutoFit/>
          </a:bodyPr>
          <a:lstStyle/>
          <a:p>
            <a:pPr algn="l"/>
            <a:r>
              <a:rPr lang="en-US" sz="4000" b="1" dirty="0">
                <a:solidFill>
                  <a:schemeClr val="bg1"/>
                </a:solidFill>
                <a:latin typeface="+mj-lt"/>
              </a:rPr>
              <a:t>Instructions</a:t>
            </a:r>
            <a:br>
              <a:rPr lang="en-US" sz="2000" dirty="0">
                <a:solidFill>
                  <a:schemeClr val="bg1"/>
                </a:solidFill>
                <a:latin typeface="+mj-lt"/>
              </a:rPr>
            </a:br>
            <a:r>
              <a:rPr lang="en-US" sz="2800" dirty="0">
                <a:solidFill>
                  <a:schemeClr val="bg1"/>
                </a:solidFill>
                <a:latin typeface="+mj-lt"/>
              </a:rPr>
              <a:t>Identify the learning category that </a:t>
            </a:r>
            <a:r>
              <a:rPr lang="en-US" sz="2800" b="1" i="1" dirty="0">
                <a:solidFill>
                  <a:schemeClr val="bg1"/>
                </a:solidFill>
                <a:latin typeface="+mj-lt"/>
              </a:rPr>
              <a:t>*best </a:t>
            </a:r>
            <a:r>
              <a:rPr lang="en-US" sz="2800" dirty="0">
                <a:solidFill>
                  <a:schemeClr val="bg1"/>
                </a:solidFill>
                <a:latin typeface="+mj-lt"/>
              </a:rPr>
              <a:t>describes where your growth in experience originated</a:t>
            </a:r>
            <a:endParaRPr lang="en-US" sz="2000" dirty="0">
              <a:solidFill>
                <a:schemeClr val="bg1"/>
              </a:solidFill>
              <a:latin typeface="+mj-lt"/>
            </a:endParaRPr>
          </a:p>
          <a:p>
            <a:pPr algn="l"/>
            <a:endParaRPr lang="en-US" sz="2800" b="1" dirty="0">
              <a:solidFill>
                <a:schemeClr val="bg1"/>
              </a:solidFill>
              <a:latin typeface="+mj-lt"/>
            </a:endParaRPr>
          </a:p>
          <a:p>
            <a:pPr algn="l"/>
            <a:r>
              <a:rPr lang="en-US" sz="2800" b="1" dirty="0">
                <a:solidFill>
                  <a:schemeClr val="bg1"/>
                </a:solidFill>
                <a:latin typeface="+mj-lt"/>
              </a:rPr>
              <a:t>Place the sticky note on the flip chart</a:t>
            </a: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a:p>
            <a:endParaRPr lang="en-US" sz="2800" b="1" dirty="0">
              <a:solidFill>
                <a:schemeClr val="bg1"/>
              </a:solidFill>
            </a:endParaRPr>
          </a:p>
        </p:txBody>
      </p:sp>
      <p:sp>
        <p:nvSpPr>
          <p:cNvPr id="22" name="Rectangle 21"/>
          <p:cNvSpPr/>
          <p:nvPr/>
        </p:nvSpPr>
        <p:spPr bwMode="auto">
          <a:xfrm>
            <a:off x="863600" y="4267200"/>
            <a:ext cx="6400800" cy="3733800"/>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Title 1"/>
          <p:cNvSpPr>
            <a:spLocks noGrp="1"/>
          </p:cNvSpPr>
          <p:nvPr>
            <p:ph type="title"/>
          </p:nvPr>
        </p:nvSpPr>
        <p:spPr>
          <a:xfrm>
            <a:off x="939800" y="4419600"/>
            <a:ext cx="6248400" cy="1625600"/>
          </a:xfrm>
        </p:spPr>
        <p:txBody>
          <a:bodyPr/>
          <a:lstStyle/>
          <a:p>
            <a:r>
              <a:rPr lang="en-US" sz="3200" b="1" dirty="0">
                <a:solidFill>
                  <a:schemeClr val="tx1">
                    <a:lumMod val="50000"/>
                    <a:lumOff val="50000"/>
                  </a:schemeClr>
                </a:solidFill>
              </a:rPr>
              <a:t>*It is possible for growth in experience to originate from multiple learning sources, in which case your sticky note can be torn in half or even thirds and placed under numerous learning categories.</a:t>
            </a:r>
          </a:p>
        </p:txBody>
      </p:sp>
    </p:spTree>
    <p:custDataLst>
      <p:tags r:id="rId1"/>
    </p:custDataLst>
  </p:cSld>
  <p:clrMapOvr>
    <a:masterClrMapping/>
  </p:clrMapOvr>
  <p:transition spd="slow">
    <p:random/>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192107" y="3251201"/>
            <a:ext cx="2817707" cy="1046440"/>
          </a:xfrm>
          <a:prstGeom prst="rect">
            <a:avLst/>
          </a:prstGeom>
          <a:noFill/>
        </p:spPr>
        <p:txBody>
          <a:bodyPr wrap="square" rtlCol="0">
            <a:spAutoFit/>
          </a:bodyPr>
          <a:lstStyle/>
          <a:p>
            <a:pPr algn="ctr"/>
            <a:r>
              <a:rPr lang="en-US" sz="3400" b="1" dirty="0">
                <a:solidFill>
                  <a:srgbClr val="006699"/>
                </a:solidFill>
                <a:latin typeface="Calibri" pitchFamily="34" charset="0"/>
                <a:cs typeface="Leelawadee" pitchFamily="34" charset="-34"/>
              </a:rPr>
              <a:t>EXPERIENTIAL</a:t>
            </a:r>
          </a:p>
          <a:p>
            <a:pPr algn="ctr"/>
            <a:endParaRPr lang="en-US" sz="2800" b="1" dirty="0">
              <a:solidFill>
                <a:srgbClr val="92D050"/>
              </a:solidFill>
            </a:endParaRPr>
          </a:p>
        </p:txBody>
      </p:sp>
      <p:sp>
        <p:nvSpPr>
          <p:cNvPr id="19" name="TextBox 18"/>
          <p:cNvSpPr txBox="1"/>
          <p:nvPr/>
        </p:nvSpPr>
        <p:spPr>
          <a:xfrm>
            <a:off x="5310294" y="3251201"/>
            <a:ext cx="2926080" cy="1092607"/>
          </a:xfrm>
          <a:prstGeom prst="rect">
            <a:avLst/>
          </a:prstGeom>
          <a:noFill/>
        </p:spPr>
        <p:txBody>
          <a:bodyPr wrap="square" rtlCol="0">
            <a:spAutoFit/>
          </a:bodyPr>
          <a:lstStyle/>
          <a:p>
            <a:pPr algn="ctr"/>
            <a:r>
              <a:rPr lang="en-US" sz="3400" b="1" dirty="0">
                <a:solidFill>
                  <a:srgbClr val="92D050"/>
                </a:solidFill>
                <a:latin typeface="Calibri" pitchFamily="34" charset="0"/>
              </a:rPr>
              <a:t>RELATIONSHIP</a:t>
            </a:r>
          </a:p>
          <a:p>
            <a:pPr algn="ctr"/>
            <a:endParaRPr lang="en-US" sz="3100" b="1" dirty="0">
              <a:solidFill>
                <a:srgbClr val="0070C0"/>
              </a:solidFill>
            </a:endParaRPr>
          </a:p>
        </p:txBody>
      </p:sp>
      <p:sp>
        <p:nvSpPr>
          <p:cNvPr id="20" name="TextBox 19"/>
          <p:cNvSpPr txBox="1"/>
          <p:nvPr/>
        </p:nvSpPr>
        <p:spPr>
          <a:xfrm>
            <a:off x="9428480" y="3251201"/>
            <a:ext cx="2492587" cy="1138773"/>
          </a:xfrm>
          <a:prstGeom prst="rect">
            <a:avLst/>
          </a:prstGeom>
          <a:noFill/>
        </p:spPr>
        <p:txBody>
          <a:bodyPr wrap="square" rtlCol="0">
            <a:spAutoFit/>
          </a:bodyPr>
          <a:lstStyle/>
          <a:p>
            <a:pPr algn="ctr"/>
            <a:r>
              <a:rPr lang="en-US" sz="3400" b="1" dirty="0">
                <a:solidFill>
                  <a:schemeClr val="tx1">
                    <a:lumMod val="50000"/>
                    <a:lumOff val="50000"/>
                  </a:schemeClr>
                </a:solidFill>
                <a:latin typeface="Leelawadee" pitchFamily="34" charset="-34"/>
                <a:cs typeface="Leelawadee" pitchFamily="34" charset="-34"/>
              </a:rPr>
              <a:t>FORMAL</a:t>
            </a:r>
          </a:p>
          <a:p>
            <a:pPr algn="ctr"/>
            <a:endParaRPr lang="en-US" sz="3400" b="1" dirty="0">
              <a:solidFill>
                <a:schemeClr val="accent6"/>
              </a:solidFill>
            </a:endParaRPr>
          </a:p>
        </p:txBody>
      </p:sp>
      <p:graphicFrame>
        <p:nvGraphicFramePr>
          <p:cNvPr id="26" name="Table 25"/>
          <p:cNvGraphicFramePr>
            <a:graphicFrameLocks noGrp="1"/>
          </p:cNvGraphicFramePr>
          <p:nvPr/>
        </p:nvGraphicFramePr>
        <p:xfrm>
          <a:off x="433493" y="4038600"/>
          <a:ext cx="3684693" cy="5015653"/>
        </p:xfrm>
        <a:graphic>
          <a:graphicData uri="http://schemas.openxmlformats.org/drawingml/2006/table">
            <a:tbl>
              <a:tblPr bandRow="1">
                <a:tableStyleId>{8799B23B-EC83-4686-B30A-512413B5E67A}</a:tableStyleId>
              </a:tblPr>
              <a:tblGrid>
                <a:gridCol w="3684693">
                  <a:extLst>
                    <a:ext uri="{9D8B030D-6E8A-4147-A177-3AD203B41FA5}">
                      <a16:colId xmlns:a16="http://schemas.microsoft.com/office/drawing/2014/main" val="20000"/>
                    </a:ext>
                  </a:extLst>
                </a:gridCol>
              </a:tblGrid>
              <a:tr h="914400">
                <a:tc>
                  <a:txBody>
                    <a:bodyPr/>
                    <a:lstStyle/>
                    <a:p>
                      <a:r>
                        <a:rPr lang="en-US" sz="2800" dirty="0">
                          <a:solidFill>
                            <a:schemeClr val="bg1"/>
                          </a:solidFill>
                        </a:rPr>
                        <a:t>Challenging</a:t>
                      </a:r>
                      <a:r>
                        <a:rPr lang="en-US" sz="2800" baseline="0" dirty="0">
                          <a:solidFill>
                            <a:schemeClr val="bg1"/>
                          </a:solidFill>
                        </a:rPr>
                        <a:t> Assignment</a:t>
                      </a:r>
                      <a:endParaRPr lang="en-US" sz="2800" b="0"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0"/>
                  </a:ext>
                </a:extLst>
              </a:tr>
              <a:tr h="563541">
                <a:tc>
                  <a:txBody>
                    <a:bodyPr/>
                    <a:lstStyle/>
                    <a:p>
                      <a:r>
                        <a:rPr lang="en-US" sz="2800" dirty="0">
                          <a:solidFill>
                            <a:srgbClr val="006699"/>
                          </a:solidFill>
                        </a:rPr>
                        <a:t>Hardship</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1"/>
                  </a:ext>
                </a:extLst>
              </a:tr>
              <a:tr h="997035">
                <a:tc>
                  <a:txBody>
                    <a:bodyPr/>
                    <a:lstStyle/>
                    <a:p>
                      <a:r>
                        <a:rPr lang="en-US" sz="2800" dirty="0">
                          <a:solidFill>
                            <a:schemeClr val="bg1"/>
                          </a:solidFill>
                        </a:rPr>
                        <a:t>New Task – had</a:t>
                      </a:r>
                      <a:r>
                        <a:rPr lang="en-US" sz="2800" baseline="0" dirty="0">
                          <a:solidFill>
                            <a:schemeClr val="bg1"/>
                          </a:solidFill>
                        </a:rPr>
                        <a:t> to figure it out</a:t>
                      </a:r>
                      <a:endParaRPr lang="en-US" sz="2800" b="1"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2"/>
                  </a:ext>
                </a:extLst>
              </a:tr>
              <a:tr h="642789">
                <a:tc>
                  <a:txBody>
                    <a:bodyPr/>
                    <a:lstStyle/>
                    <a:p>
                      <a:r>
                        <a:rPr lang="en-US" sz="2800" dirty="0">
                          <a:solidFill>
                            <a:srgbClr val="006699"/>
                          </a:solidFill>
                        </a:rPr>
                        <a:t>Filled in for someone</a:t>
                      </a:r>
                      <a:r>
                        <a:rPr lang="en-US" sz="2800" baseline="0" dirty="0">
                          <a:solidFill>
                            <a:srgbClr val="006699"/>
                          </a:solidFill>
                        </a:rPr>
                        <a:t> </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Continual</a:t>
                      </a:r>
                      <a:r>
                        <a:rPr lang="en-US" sz="2800" baseline="0" dirty="0">
                          <a:solidFill>
                            <a:schemeClr val="bg1"/>
                          </a:solidFill>
                        </a:rPr>
                        <a:t> Practice</a:t>
                      </a:r>
                      <a:endParaRPr lang="en-US" sz="2800" b="1" dirty="0">
                        <a:solidFill>
                          <a:schemeClr val="bg1"/>
                        </a:solidFill>
                        <a:latin typeface="Calibri" pitchFamily="34" charset="0"/>
                      </a:endParaRPr>
                    </a:p>
                  </a:txBody>
                  <a:tcPr marL="130048" marR="130048" marT="65024" marB="65024">
                    <a:solidFill>
                      <a:srgbClr val="0080C0"/>
                    </a:solidFill>
                  </a:tcPr>
                </a:tc>
                <a:extLst>
                  <a:ext uri="{0D108BD9-81ED-4DB2-BD59-A6C34878D82A}">
                    <a16:rowId xmlns:a16="http://schemas.microsoft.com/office/drawing/2014/main" val="10004"/>
                  </a:ext>
                </a:extLst>
              </a:tr>
              <a:tr h="1265259">
                <a:tc>
                  <a:txBody>
                    <a:bodyPr/>
                    <a:lstStyle/>
                    <a:p>
                      <a:r>
                        <a:rPr lang="en-US" sz="2800" dirty="0">
                          <a:solidFill>
                            <a:srgbClr val="006699"/>
                          </a:solidFill>
                        </a:rPr>
                        <a:t>Responsible for major deliverable</a:t>
                      </a:r>
                      <a:endParaRPr lang="en-US" sz="2800" b="1" dirty="0">
                        <a:solidFill>
                          <a:srgbClr val="006699"/>
                        </a:solidFill>
                        <a:latin typeface="Calibri" pitchFamily="34" charset="0"/>
                      </a:endParaRPr>
                    </a:p>
                  </a:txBody>
                  <a:tcPr marL="130048" marR="130048" marT="65024" marB="65024"/>
                </a:tc>
                <a:extLst>
                  <a:ext uri="{0D108BD9-81ED-4DB2-BD59-A6C34878D82A}">
                    <a16:rowId xmlns:a16="http://schemas.microsoft.com/office/drawing/2014/main" val="10005"/>
                  </a:ext>
                </a:extLst>
              </a:tr>
            </a:tbl>
          </a:graphicData>
        </a:graphic>
      </p:graphicFrame>
      <p:graphicFrame>
        <p:nvGraphicFramePr>
          <p:cNvPr id="27" name="Table 26"/>
          <p:cNvGraphicFramePr>
            <a:graphicFrameLocks noGrp="1"/>
          </p:cNvGraphicFramePr>
          <p:nvPr/>
        </p:nvGraphicFramePr>
        <p:xfrm>
          <a:off x="4876800" y="4191000"/>
          <a:ext cx="3684693" cy="2817705"/>
        </p:xfrm>
        <a:graphic>
          <a:graphicData uri="http://schemas.openxmlformats.org/drawingml/2006/table">
            <a:tbl>
              <a:tblPr bandRow="1">
                <a:tableStyleId>{8799B23B-EC83-4686-B30A-512413B5E67A}</a:tableStyleId>
              </a:tblPr>
              <a:tblGrid>
                <a:gridCol w="3684693">
                  <a:extLst>
                    <a:ext uri="{9D8B030D-6E8A-4147-A177-3AD203B41FA5}">
                      <a16:colId xmlns:a16="http://schemas.microsoft.com/office/drawing/2014/main" val="20000"/>
                    </a:ext>
                  </a:extLst>
                </a:gridCol>
              </a:tblGrid>
              <a:tr h="563541">
                <a:tc>
                  <a:txBody>
                    <a:bodyPr/>
                    <a:lstStyle/>
                    <a:p>
                      <a:r>
                        <a:rPr lang="en-US" sz="2800" b="0" dirty="0">
                          <a:solidFill>
                            <a:schemeClr val="bg1"/>
                          </a:solidFill>
                        </a:rPr>
                        <a:t>Mentor</a:t>
                      </a:r>
                      <a:endParaRPr lang="en-US" sz="2800" b="0"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0"/>
                  </a:ext>
                </a:extLst>
              </a:tr>
              <a:tr h="563541">
                <a:tc>
                  <a:txBody>
                    <a:bodyPr/>
                    <a:lstStyle/>
                    <a:p>
                      <a:r>
                        <a:rPr lang="en-US" sz="2800" dirty="0">
                          <a:solidFill>
                            <a:srgbClr val="92D050"/>
                          </a:solidFill>
                        </a:rPr>
                        <a:t>Manager</a:t>
                      </a:r>
                      <a:endParaRPr lang="en-US" sz="2800" b="1" dirty="0">
                        <a:solidFill>
                          <a:srgbClr val="92D050"/>
                        </a:solidFill>
                        <a:latin typeface="Calibri" pitchFamily="34" charset="0"/>
                      </a:endParaRPr>
                    </a:p>
                  </a:txBody>
                  <a:tcPr marL="130048" marR="130048" marT="65024" marB="65024"/>
                </a:tc>
                <a:extLst>
                  <a:ext uri="{0D108BD9-81ED-4DB2-BD59-A6C34878D82A}">
                    <a16:rowId xmlns:a16="http://schemas.microsoft.com/office/drawing/2014/main" val="10001"/>
                  </a:ext>
                </a:extLst>
              </a:tr>
              <a:tr h="563541">
                <a:tc>
                  <a:txBody>
                    <a:bodyPr/>
                    <a:lstStyle/>
                    <a:p>
                      <a:r>
                        <a:rPr lang="en-US" sz="2800" dirty="0">
                          <a:solidFill>
                            <a:schemeClr val="bg1"/>
                          </a:solidFill>
                        </a:rPr>
                        <a:t>Coach</a:t>
                      </a:r>
                      <a:endParaRPr lang="en-US" sz="2800" b="1"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2"/>
                  </a:ext>
                </a:extLst>
              </a:tr>
              <a:tr h="563541">
                <a:tc>
                  <a:txBody>
                    <a:bodyPr/>
                    <a:lstStyle/>
                    <a:p>
                      <a:r>
                        <a:rPr lang="en-US" sz="2800" dirty="0">
                          <a:solidFill>
                            <a:srgbClr val="92D050"/>
                          </a:solidFill>
                        </a:rPr>
                        <a:t>Peer</a:t>
                      </a:r>
                      <a:endParaRPr lang="en-US" sz="2800" b="1" dirty="0">
                        <a:solidFill>
                          <a:srgbClr val="92D050"/>
                        </a:solidFill>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Other (person)</a:t>
                      </a:r>
                      <a:endParaRPr lang="en-US" sz="2800" b="1" dirty="0">
                        <a:solidFill>
                          <a:schemeClr val="bg1"/>
                        </a:solidFill>
                        <a:latin typeface="Calibri" pitchFamily="34" charset="0"/>
                      </a:endParaRPr>
                    </a:p>
                  </a:txBody>
                  <a:tcPr marL="130048" marR="130048" marT="65024" marB="65024">
                    <a:solidFill>
                      <a:srgbClr val="92D050"/>
                    </a:solidFill>
                  </a:tcPr>
                </a:tc>
                <a:extLst>
                  <a:ext uri="{0D108BD9-81ED-4DB2-BD59-A6C34878D82A}">
                    <a16:rowId xmlns:a16="http://schemas.microsoft.com/office/drawing/2014/main" val="10004"/>
                  </a:ext>
                </a:extLst>
              </a:tr>
            </a:tbl>
          </a:graphicData>
        </a:graphic>
      </p:graphicFrame>
      <p:graphicFrame>
        <p:nvGraphicFramePr>
          <p:cNvPr id="28" name="Table 27"/>
          <p:cNvGraphicFramePr>
            <a:graphicFrameLocks noGrp="1"/>
          </p:cNvGraphicFramePr>
          <p:nvPr/>
        </p:nvGraphicFramePr>
        <p:xfrm>
          <a:off x="9211733" y="4267200"/>
          <a:ext cx="3142827" cy="2817705"/>
        </p:xfrm>
        <a:graphic>
          <a:graphicData uri="http://schemas.openxmlformats.org/drawingml/2006/table">
            <a:tbl>
              <a:tblPr bandRow="1">
                <a:tableStyleId>{E8B1032C-EA38-4F05-BA0D-38AFFFC7BED3}</a:tableStyleId>
              </a:tblPr>
              <a:tblGrid>
                <a:gridCol w="3142827">
                  <a:extLst>
                    <a:ext uri="{9D8B030D-6E8A-4147-A177-3AD203B41FA5}">
                      <a16:colId xmlns:a16="http://schemas.microsoft.com/office/drawing/2014/main" val="20000"/>
                    </a:ext>
                  </a:extLst>
                </a:gridCol>
              </a:tblGrid>
              <a:tr h="563541">
                <a:tc>
                  <a:txBody>
                    <a:bodyPr/>
                    <a:lstStyle/>
                    <a:p>
                      <a:r>
                        <a:rPr lang="en-US" sz="2800" b="0" dirty="0">
                          <a:solidFill>
                            <a:schemeClr val="bg1"/>
                          </a:solidFill>
                        </a:rPr>
                        <a:t>Class</a:t>
                      </a:r>
                      <a:endParaRPr lang="en-US" sz="2800" b="0" dirty="0">
                        <a:solidFill>
                          <a:schemeClr val="bg1"/>
                        </a:solidFill>
                        <a:latin typeface="Calibri" pitchFamily="34" charset="0"/>
                      </a:endParaRPr>
                    </a:p>
                  </a:txBody>
                  <a:tcPr marL="130048" marR="130048" marT="65024" marB="65024">
                    <a:solidFill>
                      <a:schemeClr val="tx1">
                        <a:lumMod val="65000"/>
                        <a:lumOff val="35000"/>
                        <a:alpha val="79000"/>
                      </a:schemeClr>
                    </a:solidFill>
                  </a:tcPr>
                </a:tc>
                <a:extLst>
                  <a:ext uri="{0D108BD9-81ED-4DB2-BD59-A6C34878D82A}">
                    <a16:rowId xmlns:a16="http://schemas.microsoft.com/office/drawing/2014/main" val="10000"/>
                  </a:ext>
                </a:extLst>
              </a:tr>
              <a:tr h="563541">
                <a:tc>
                  <a:txBody>
                    <a:bodyPr/>
                    <a:lstStyle/>
                    <a:p>
                      <a:r>
                        <a:rPr lang="en-US" sz="2800" dirty="0">
                          <a:solidFill>
                            <a:schemeClr val="tx1">
                              <a:lumMod val="50000"/>
                              <a:lumOff val="50000"/>
                            </a:schemeClr>
                          </a:solidFill>
                        </a:rPr>
                        <a:t>Book</a:t>
                      </a:r>
                      <a:endParaRPr lang="en-US" sz="2800" b="1" dirty="0">
                        <a:solidFill>
                          <a:schemeClr val="tx1">
                            <a:lumMod val="50000"/>
                            <a:lumOff val="50000"/>
                          </a:schemeClr>
                        </a:solidFill>
                        <a:latin typeface="Calibri" pitchFamily="34" charset="0"/>
                      </a:endParaRPr>
                    </a:p>
                  </a:txBody>
                  <a:tcPr marL="130048" marR="130048" marT="65024" marB="65024"/>
                </a:tc>
                <a:extLst>
                  <a:ext uri="{0D108BD9-81ED-4DB2-BD59-A6C34878D82A}">
                    <a16:rowId xmlns:a16="http://schemas.microsoft.com/office/drawing/2014/main" val="10001"/>
                  </a:ext>
                </a:extLst>
              </a:tr>
              <a:tr h="563541">
                <a:tc>
                  <a:txBody>
                    <a:bodyPr/>
                    <a:lstStyle/>
                    <a:p>
                      <a:r>
                        <a:rPr lang="en-US" sz="2800" dirty="0">
                          <a:solidFill>
                            <a:schemeClr val="bg1"/>
                          </a:solidFill>
                        </a:rPr>
                        <a:t>Research</a:t>
                      </a:r>
                      <a:endParaRPr lang="en-US" sz="2800" b="1" dirty="0">
                        <a:solidFill>
                          <a:schemeClr val="bg1"/>
                        </a:solidFill>
                        <a:latin typeface="Calibri" pitchFamily="34" charset="0"/>
                      </a:endParaRPr>
                    </a:p>
                  </a:txBody>
                  <a:tcPr marL="130048" marR="130048" marT="65024" marB="65024">
                    <a:solidFill>
                      <a:schemeClr val="tx1">
                        <a:lumMod val="50000"/>
                        <a:lumOff val="50000"/>
                        <a:alpha val="97000"/>
                      </a:schemeClr>
                    </a:solidFill>
                  </a:tcPr>
                </a:tc>
                <a:extLst>
                  <a:ext uri="{0D108BD9-81ED-4DB2-BD59-A6C34878D82A}">
                    <a16:rowId xmlns:a16="http://schemas.microsoft.com/office/drawing/2014/main" val="10002"/>
                  </a:ext>
                </a:extLst>
              </a:tr>
              <a:tr h="563541">
                <a:tc>
                  <a:txBody>
                    <a:bodyPr/>
                    <a:lstStyle/>
                    <a:p>
                      <a:r>
                        <a:rPr lang="en-US" sz="2800" dirty="0">
                          <a:solidFill>
                            <a:schemeClr val="tx1">
                              <a:lumMod val="50000"/>
                              <a:lumOff val="50000"/>
                            </a:schemeClr>
                          </a:solidFill>
                        </a:rPr>
                        <a:t>Conference</a:t>
                      </a:r>
                      <a:endParaRPr lang="en-US" sz="2800" b="1" dirty="0">
                        <a:solidFill>
                          <a:schemeClr val="tx1">
                            <a:lumMod val="50000"/>
                            <a:lumOff val="50000"/>
                          </a:schemeClr>
                        </a:solidFill>
                        <a:latin typeface="Calibri" pitchFamily="34" charset="0"/>
                      </a:endParaRPr>
                    </a:p>
                  </a:txBody>
                  <a:tcPr marL="130048" marR="130048" marT="65024" marB="65024"/>
                </a:tc>
                <a:extLst>
                  <a:ext uri="{0D108BD9-81ED-4DB2-BD59-A6C34878D82A}">
                    <a16:rowId xmlns:a16="http://schemas.microsoft.com/office/drawing/2014/main" val="10003"/>
                  </a:ext>
                </a:extLst>
              </a:tr>
              <a:tr h="563541">
                <a:tc>
                  <a:txBody>
                    <a:bodyPr/>
                    <a:lstStyle/>
                    <a:p>
                      <a:r>
                        <a:rPr lang="en-US" sz="2800" dirty="0">
                          <a:solidFill>
                            <a:schemeClr val="bg1"/>
                          </a:solidFill>
                        </a:rPr>
                        <a:t>Training</a:t>
                      </a:r>
                      <a:endParaRPr lang="en-US" sz="2800" b="1" dirty="0">
                        <a:solidFill>
                          <a:schemeClr val="bg1"/>
                        </a:solidFill>
                        <a:latin typeface="Calibri" pitchFamily="34" charset="0"/>
                      </a:endParaRPr>
                    </a:p>
                  </a:txBody>
                  <a:tcPr marL="130048" marR="130048" marT="65024" marB="65024">
                    <a:solidFill>
                      <a:schemeClr val="tx1">
                        <a:lumMod val="50000"/>
                        <a:lumOff val="50000"/>
                      </a:schemeClr>
                    </a:solidFill>
                  </a:tcPr>
                </a:tc>
                <a:extLst>
                  <a:ext uri="{0D108BD9-81ED-4DB2-BD59-A6C34878D82A}">
                    <a16:rowId xmlns:a16="http://schemas.microsoft.com/office/drawing/2014/main" val="10004"/>
                  </a:ext>
                </a:extLst>
              </a:tr>
            </a:tbl>
          </a:graphicData>
        </a:graphic>
      </p:graphicFrame>
      <p:sp>
        <p:nvSpPr>
          <p:cNvPr id="14" name="Slide Number Placeholder 1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12</a:t>
            </a:fld>
            <a:endParaRPr lang="en-US" dirty="0">
              <a:solidFill>
                <a:prstClr val="black"/>
              </a:solidFill>
            </a:endParaRPr>
          </a:p>
        </p:txBody>
      </p:sp>
      <p:grpSp>
        <p:nvGrpSpPr>
          <p:cNvPr id="16" name="Group 20"/>
          <p:cNvGrpSpPr/>
          <p:nvPr/>
        </p:nvGrpSpPr>
        <p:grpSpPr>
          <a:xfrm>
            <a:off x="1192107" y="758614"/>
            <a:ext cx="10728960" cy="3631360"/>
            <a:chOff x="838200" y="1752600"/>
            <a:chExt cx="7543800" cy="2553300"/>
          </a:xfrm>
        </p:grpSpPr>
        <p:grpSp>
          <p:nvGrpSpPr>
            <p:cNvPr id="21" name="Group 6"/>
            <p:cNvGrpSpPr/>
            <p:nvPr/>
          </p:nvGrpSpPr>
          <p:grpSpPr>
            <a:xfrm>
              <a:off x="838200" y="1752600"/>
              <a:ext cx="1600200" cy="1600200"/>
              <a:chOff x="1143000" y="1752600"/>
              <a:chExt cx="1600200" cy="1600200"/>
            </a:xfrm>
          </p:grpSpPr>
          <p:sp>
            <p:nvSpPr>
              <p:cNvPr id="36" name="Oval 4"/>
              <p:cNvSpPr/>
              <p:nvPr/>
            </p:nvSpPr>
            <p:spPr>
              <a:xfrm>
                <a:off x="1219200" y="1828800"/>
                <a:ext cx="1447800" cy="1447800"/>
              </a:xfrm>
              <a:prstGeom prst="ellipse">
                <a:avLst/>
              </a:prstGeom>
              <a:solidFill>
                <a:srgbClr val="008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0" dirty="0">
                    <a:latin typeface="Leelawadee" pitchFamily="34" charset="-34"/>
                    <a:cs typeface="Leelawadee" pitchFamily="34" charset="-34"/>
                  </a:rPr>
                  <a:t>70</a:t>
                </a:r>
              </a:p>
            </p:txBody>
          </p:sp>
          <p:sp>
            <p:nvSpPr>
              <p:cNvPr id="37" name="Oval 5"/>
              <p:cNvSpPr/>
              <p:nvPr/>
            </p:nvSpPr>
            <p:spPr>
              <a:xfrm>
                <a:off x="1143000" y="1752600"/>
                <a:ext cx="1600200" cy="160020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7"/>
            <p:cNvGrpSpPr/>
            <p:nvPr/>
          </p:nvGrpSpPr>
          <p:grpSpPr>
            <a:xfrm>
              <a:off x="3733800" y="1752600"/>
              <a:ext cx="1600200" cy="1600200"/>
              <a:chOff x="1143000" y="1752600"/>
              <a:chExt cx="1600200" cy="1600200"/>
            </a:xfrm>
          </p:grpSpPr>
          <p:sp>
            <p:nvSpPr>
              <p:cNvPr id="34" name="Oval 33"/>
              <p:cNvSpPr/>
              <p:nvPr/>
            </p:nvSpPr>
            <p:spPr>
              <a:xfrm>
                <a:off x="1219200" y="1828800"/>
                <a:ext cx="1447800" cy="14478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0" dirty="0">
                    <a:latin typeface="Leelawadee" pitchFamily="34" charset="-34"/>
                    <a:cs typeface="Leelawadee" pitchFamily="34" charset="-34"/>
                  </a:rPr>
                  <a:t>20</a:t>
                </a:r>
              </a:p>
            </p:txBody>
          </p:sp>
          <p:sp>
            <p:nvSpPr>
              <p:cNvPr id="35" name="Oval 34"/>
              <p:cNvSpPr/>
              <p:nvPr/>
            </p:nvSpPr>
            <p:spPr>
              <a:xfrm>
                <a:off x="1143000" y="1752600"/>
                <a:ext cx="1600200" cy="160020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10"/>
            <p:cNvGrpSpPr/>
            <p:nvPr/>
          </p:nvGrpSpPr>
          <p:grpSpPr>
            <a:xfrm>
              <a:off x="6629400" y="1752600"/>
              <a:ext cx="1600200" cy="1600200"/>
              <a:chOff x="1143000" y="1752600"/>
              <a:chExt cx="1600200" cy="1600200"/>
            </a:xfrm>
          </p:grpSpPr>
          <p:sp>
            <p:nvSpPr>
              <p:cNvPr id="32" name="Oval 31"/>
              <p:cNvSpPr/>
              <p:nvPr/>
            </p:nvSpPr>
            <p:spPr>
              <a:xfrm>
                <a:off x="1219200" y="1828800"/>
                <a:ext cx="1447800" cy="144780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0" dirty="0">
                    <a:latin typeface="Leelawadee" pitchFamily="34" charset="-34"/>
                    <a:cs typeface="Leelawadee" pitchFamily="34" charset="-34"/>
                  </a:rPr>
                  <a:t>10</a:t>
                </a:r>
              </a:p>
            </p:txBody>
          </p:sp>
          <p:sp>
            <p:nvSpPr>
              <p:cNvPr id="33" name="Oval 32"/>
              <p:cNvSpPr/>
              <p:nvPr/>
            </p:nvSpPr>
            <p:spPr>
              <a:xfrm>
                <a:off x="1143000" y="1752600"/>
                <a:ext cx="1600200" cy="1600200"/>
              </a:xfrm>
              <a:prstGeom prst="ellipse">
                <a:avLst/>
              </a:prstGeom>
              <a:noFill/>
              <a:ln w="1905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4" name="Straight Connector 23"/>
            <p:cNvCxnSpPr>
              <a:stCxn id="36" idx="6"/>
              <a:endCxn id="35" idx="2"/>
            </p:cNvCxnSpPr>
            <p:nvPr/>
          </p:nvCxnSpPr>
          <p:spPr>
            <a:xfrm>
              <a:off x="2438400" y="2552700"/>
              <a:ext cx="1295400" cy="0"/>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334000" y="2514600"/>
              <a:ext cx="1295400" cy="0"/>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733800" y="3505200"/>
              <a:ext cx="2057400" cy="768239"/>
            </a:xfrm>
            <a:prstGeom prst="rect">
              <a:avLst/>
            </a:prstGeom>
            <a:noFill/>
          </p:spPr>
          <p:txBody>
            <a:bodyPr wrap="square" rtlCol="0">
              <a:spAutoFit/>
            </a:bodyPr>
            <a:lstStyle/>
            <a:p>
              <a:pPr algn="ctr"/>
              <a:r>
                <a:rPr lang="en-US" sz="3400" b="1" dirty="0">
                  <a:solidFill>
                    <a:srgbClr val="92D050"/>
                  </a:solidFill>
                  <a:latin typeface="Calibri" pitchFamily="34" charset="0"/>
                </a:rPr>
                <a:t>RELATIONSHIP</a:t>
              </a:r>
            </a:p>
            <a:p>
              <a:pPr algn="ctr"/>
              <a:endParaRPr lang="en-US" sz="3100" b="1" dirty="0">
                <a:solidFill>
                  <a:srgbClr val="0070C0"/>
                </a:solidFill>
              </a:endParaRPr>
            </a:p>
          </p:txBody>
        </p:sp>
        <p:sp>
          <p:nvSpPr>
            <p:cNvPr id="31" name="TextBox 30"/>
            <p:cNvSpPr txBox="1"/>
            <p:nvPr/>
          </p:nvSpPr>
          <p:spPr>
            <a:xfrm>
              <a:off x="6629400" y="3505200"/>
              <a:ext cx="1752600" cy="800700"/>
            </a:xfrm>
            <a:prstGeom prst="rect">
              <a:avLst/>
            </a:prstGeom>
            <a:noFill/>
          </p:spPr>
          <p:txBody>
            <a:bodyPr wrap="square" rtlCol="0">
              <a:spAutoFit/>
            </a:bodyPr>
            <a:lstStyle/>
            <a:p>
              <a:pPr algn="ctr"/>
              <a:r>
                <a:rPr lang="en-US" sz="3400" b="1" dirty="0">
                  <a:solidFill>
                    <a:schemeClr val="tx1">
                      <a:lumMod val="50000"/>
                      <a:lumOff val="50000"/>
                    </a:schemeClr>
                  </a:solidFill>
                  <a:latin typeface="Leelawadee" pitchFamily="34" charset="-34"/>
                  <a:cs typeface="Leelawadee" pitchFamily="34" charset="-34"/>
                </a:rPr>
                <a:t>FORMAL</a:t>
              </a:r>
            </a:p>
            <a:p>
              <a:pPr algn="ctr"/>
              <a:endParaRPr lang="en-US" sz="3400" b="1" dirty="0">
                <a:solidFill>
                  <a:schemeClr val="accent6"/>
                </a:solidFill>
              </a:endParaRPr>
            </a:p>
          </p:txBody>
        </p:sp>
      </p:grpSp>
      <p:grpSp>
        <p:nvGrpSpPr>
          <p:cNvPr id="29" name="Group 28">
            <a:extLst>
              <a:ext uri="{FF2B5EF4-FFF2-40B4-BE49-F238E27FC236}">
                <a16:creationId xmlns:a16="http://schemas.microsoft.com/office/drawing/2014/main" id="{6768D473-6F9B-4963-A07B-8950309B5022}"/>
              </a:ext>
            </a:extLst>
          </p:cNvPr>
          <p:cNvGrpSpPr/>
          <p:nvPr/>
        </p:nvGrpSpPr>
        <p:grpSpPr>
          <a:xfrm>
            <a:off x="9855200" y="9001780"/>
            <a:ext cx="2717800" cy="675620"/>
            <a:chOff x="11150600" y="7086600"/>
            <a:chExt cx="1270000" cy="675620"/>
          </a:xfrm>
        </p:grpSpPr>
        <p:pic>
          <p:nvPicPr>
            <p:cNvPr id="38" name="Picture 2">
              <a:extLst>
                <a:ext uri="{FF2B5EF4-FFF2-40B4-BE49-F238E27FC236}">
                  <a16:creationId xmlns:a16="http://schemas.microsoft.com/office/drawing/2014/main" id="{CC2C61F8-ECDD-4432-BED6-FFEE3B52F55A}"/>
                </a:ext>
              </a:extLst>
            </p:cNvPr>
            <p:cNvPicPr>
              <a:picLocks noChangeAspect="1" noChangeArrowheads="1"/>
            </p:cNvPicPr>
            <p:nvPr/>
          </p:nvPicPr>
          <p:blipFill>
            <a:blip r:embed="rId3"/>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39" name="TextBox 38">
              <a:extLst>
                <a:ext uri="{FF2B5EF4-FFF2-40B4-BE49-F238E27FC236}">
                  <a16:creationId xmlns:a16="http://schemas.microsoft.com/office/drawing/2014/main" id="{7D3CBA09-B689-4F59-8C2A-E3C1F4E00F18}"/>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8 </a:t>
              </a:r>
            </a:p>
          </p:txBody>
        </p:sp>
      </p:grpSp>
      <p:sp>
        <p:nvSpPr>
          <p:cNvPr id="40" name="TextBox 39">
            <a:extLst>
              <a:ext uri="{FF2B5EF4-FFF2-40B4-BE49-F238E27FC236}">
                <a16:creationId xmlns:a16="http://schemas.microsoft.com/office/drawing/2014/main" id="{E03AAE67-9ADC-4B12-B8AA-0E25E9C16867}"/>
              </a:ext>
            </a:extLst>
          </p:cNvPr>
          <p:cNvSpPr txBox="1"/>
          <p:nvPr/>
        </p:nvSpPr>
        <p:spPr>
          <a:xfrm>
            <a:off x="215900" y="80934"/>
            <a:ext cx="12573000" cy="2101086"/>
          </a:xfrm>
          <a:prstGeom prst="rect">
            <a:avLst/>
          </a:prstGeom>
          <a:noFill/>
        </p:spPr>
        <p:txBody>
          <a:bodyPr wrap="square" lIns="130046" tIns="65023" rIns="130046" bIns="65023" rtlCol="0">
            <a:spAutoFit/>
          </a:bodyPr>
          <a:lstStyle/>
          <a:p>
            <a:r>
              <a:rPr lang="en-US" sz="3200" b="1" dirty="0">
                <a:solidFill>
                  <a:srgbClr val="0080C0"/>
                </a:solidFill>
                <a:latin typeface="Calibri" pitchFamily="34" charset="0"/>
              </a:rPr>
              <a:t>70/20/10 Model for how Learning and Development Occurs</a:t>
            </a:r>
            <a:endParaRPr lang="en-US" sz="3200" dirty="0">
              <a:solidFill>
                <a:srgbClr val="0080C0"/>
              </a:solidFill>
              <a:latin typeface="Calibri" pitchFamily="34" charset="0"/>
            </a:endParaRPr>
          </a:p>
          <a:p>
            <a:endParaRPr lang="en-US" sz="3200" b="1" dirty="0">
              <a:solidFill>
                <a:schemeClr val="bg1"/>
              </a:solidFill>
              <a:latin typeface="Calibri" pitchFamily="34" charset="0"/>
            </a:endParaRPr>
          </a:p>
          <a:p>
            <a:endParaRPr lang="en-US" sz="3200" b="1" dirty="0">
              <a:solidFill>
                <a:schemeClr val="bg1"/>
              </a:solidFill>
              <a:latin typeface="Calibri" pitchFamily="34" charset="0"/>
            </a:endParaRPr>
          </a:p>
          <a:p>
            <a:r>
              <a:rPr lang="en-US" sz="3200" b="1" dirty="0">
                <a:solidFill>
                  <a:schemeClr val="bg1"/>
                </a:solidFill>
                <a:latin typeface="Calibri" pitchFamily="34" charset="0"/>
              </a:rPr>
              <a:t>  </a:t>
            </a:r>
            <a:endParaRPr lang="en-US" sz="3200" b="1" dirty="0">
              <a:solidFill>
                <a:srgbClr val="0070C0"/>
              </a:solidFill>
            </a:endParaRPr>
          </a:p>
        </p:txBody>
      </p:sp>
    </p:spTree>
    <p:custDataLst>
      <p:tags r:id="rId1"/>
    </p:custDataLst>
    <p:extLst>
      <p:ext uri="{BB962C8B-B14F-4D97-AF65-F5344CB8AC3E}">
        <p14:creationId xmlns:p14="http://schemas.microsoft.com/office/powerpoint/2010/main" val="102068770"/>
      </p:ext>
    </p:extLst>
  </p:cSld>
  <p:clrMapOvr>
    <a:masterClrMapping/>
  </p:clrMapOvr>
  <p:transition spd="slow">
    <p:rand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625600" y="304800"/>
            <a:ext cx="10896600" cy="1793309"/>
          </a:xfrm>
          <a:prstGeom prst="rect">
            <a:avLst/>
          </a:prstGeom>
          <a:noFill/>
        </p:spPr>
        <p:txBody>
          <a:bodyPr wrap="square" lIns="130046" tIns="65023" rIns="130046" bIns="65023" rtlCol="0">
            <a:spAutoFit/>
          </a:bodyPr>
          <a:lstStyle/>
          <a:p>
            <a:r>
              <a:rPr lang="en-US" sz="3600" b="1" dirty="0">
                <a:latin typeface="Calibri" pitchFamily="34" charset="0"/>
              </a:rPr>
              <a:t>Now that you have mapped your career pattern let’s use the Employee Performance Continuum to reflect upon your performance and potential</a:t>
            </a:r>
          </a:p>
        </p:txBody>
      </p:sp>
      <p:sp>
        <p:nvSpPr>
          <p:cNvPr id="13" name="Up Arrow 12"/>
          <p:cNvSpPr/>
          <p:nvPr/>
        </p:nvSpPr>
        <p:spPr bwMode="auto">
          <a:xfrm>
            <a:off x="25400" y="76200"/>
            <a:ext cx="1447800" cy="9067800"/>
          </a:xfrm>
          <a:prstGeom prst="up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Your Growth in Experienc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4" name="Right Arrow 13"/>
          <p:cNvSpPr/>
          <p:nvPr/>
        </p:nvSpPr>
        <p:spPr bwMode="auto">
          <a:xfrm>
            <a:off x="406400" y="8524868"/>
            <a:ext cx="11277600" cy="1219200"/>
          </a:xfrm>
          <a:prstGeom prst="right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Over Time (years)</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6" name="Freeform 15"/>
          <p:cNvSpPr/>
          <p:nvPr/>
        </p:nvSpPr>
        <p:spPr bwMode="auto">
          <a:xfrm>
            <a:off x="1092200" y="2057400"/>
            <a:ext cx="7315200" cy="6731875"/>
          </a:xfrm>
          <a:custGeom>
            <a:avLst/>
            <a:gdLst>
              <a:gd name="connsiteX0" fmla="*/ 0 w 7315200"/>
              <a:gd name="connsiteY0" fmla="*/ 6731875 h 6731875"/>
              <a:gd name="connsiteX1" fmla="*/ 78827 w 7315200"/>
              <a:gd name="connsiteY1" fmla="*/ 6700344 h 6731875"/>
              <a:gd name="connsiteX2" fmla="*/ 110358 w 7315200"/>
              <a:gd name="connsiteY2" fmla="*/ 6653048 h 6731875"/>
              <a:gd name="connsiteX3" fmla="*/ 204951 w 7315200"/>
              <a:gd name="connsiteY3" fmla="*/ 6621517 h 6731875"/>
              <a:gd name="connsiteX4" fmla="*/ 299545 w 7315200"/>
              <a:gd name="connsiteY4" fmla="*/ 6558455 h 6731875"/>
              <a:gd name="connsiteX5" fmla="*/ 346841 w 7315200"/>
              <a:gd name="connsiteY5" fmla="*/ 6542689 h 6731875"/>
              <a:gd name="connsiteX6" fmla="*/ 441434 w 7315200"/>
              <a:gd name="connsiteY6" fmla="*/ 6463862 h 6731875"/>
              <a:gd name="connsiteX7" fmla="*/ 488731 w 7315200"/>
              <a:gd name="connsiteY7" fmla="*/ 6432331 h 6731875"/>
              <a:gd name="connsiteX8" fmla="*/ 551793 w 7315200"/>
              <a:gd name="connsiteY8" fmla="*/ 6385034 h 6731875"/>
              <a:gd name="connsiteX9" fmla="*/ 599089 w 7315200"/>
              <a:gd name="connsiteY9" fmla="*/ 6290441 h 6731875"/>
              <a:gd name="connsiteX10" fmla="*/ 646386 w 7315200"/>
              <a:gd name="connsiteY10" fmla="*/ 6274675 h 6731875"/>
              <a:gd name="connsiteX11" fmla="*/ 693682 w 7315200"/>
              <a:gd name="connsiteY11" fmla="*/ 6243144 h 6731875"/>
              <a:gd name="connsiteX12" fmla="*/ 914400 w 7315200"/>
              <a:gd name="connsiteY12" fmla="*/ 6211613 h 6731875"/>
              <a:gd name="connsiteX13" fmla="*/ 961696 w 7315200"/>
              <a:gd name="connsiteY13" fmla="*/ 6180082 h 6731875"/>
              <a:gd name="connsiteX14" fmla="*/ 1008993 w 7315200"/>
              <a:gd name="connsiteY14" fmla="*/ 6164317 h 6731875"/>
              <a:gd name="connsiteX15" fmla="*/ 1040524 w 7315200"/>
              <a:gd name="connsiteY15" fmla="*/ 6117020 h 6731875"/>
              <a:gd name="connsiteX16" fmla="*/ 1087820 w 7315200"/>
              <a:gd name="connsiteY16" fmla="*/ 6069724 h 6731875"/>
              <a:gd name="connsiteX17" fmla="*/ 1119351 w 7315200"/>
              <a:gd name="connsiteY17" fmla="*/ 6022427 h 6731875"/>
              <a:gd name="connsiteX18" fmla="*/ 1166648 w 7315200"/>
              <a:gd name="connsiteY18" fmla="*/ 5975131 h 6731875"/>
              <a:gd name="connsiteX19" fmla="*/ 1229710 w 7315200"/>
              <a:gd name="connsiteY19" fmla="*/ 5880537 h 6731875"/>
              <a:gd name="connsiteX20" fmla="*/ 1277007 w 7315200"/>
              <a:gd name="connsiteY20" fmla="*/ 5849006 h 6731875"/>
              <a:gd name="connsiteX21" fmla="*/ 1418896 w 7315200"/>
              <a:gd name="connsiteY21" fmla="*/ 5817475 h 6731875"/>
              <a:gd name="connsiteX22" fmla="*/ 1481958 w 7315200"/>
              <a:gd name="connsiteY22" fmla="*/ 5801710 h 6731875"/>
              <a:gd name="connsiteX23" fmla="*/ 1529255 w 7315200"/>
              <a:gd name="connsiteY23" fmla="*/ 5785944 h 6731875"/>
              <a:gd name="connsiteX24" fmla="*/ 1844565 w 7315200"/>
              <a:gd name="connsiteY24" fmla="*/ 5770179 h 6731875"/>
              <a:gd name="connsiteX25" fmla="*/ 1970689 w 7315200"/>
              <a:gd name="connsiteY25" fmla="*/ 5754413 h 6731875"/>
              <a:gd name="connsiteX26" fmla="*/ 2333296 w 7315200"/>
              <a:gd name="connsiteY26" fmla="*/ 5738648 h 6731875"/>
              <a:gd name="connsiteX27" fmla="*/ 2427889 w 7315200"/>
              <a:gd name="connsiteY27" fmla="*/ 5707117 h 6731875"/>
              <a:gd name="connsiteX28" fmla="*/ 2475186 w 7315200"/>
              <a:gd name="connsiteY28" fmla="*/ 5691351 h 6731875"/>
              <a:gd name="connsiteX29" fmla="*/ 2506717 w 7315200"/>
              <a:gd name="connsiteY29" fmla="*/ 5644055 h 6731875"/>
              <a:gd name="connsiteX30" fmla="*/ 2554014 w 7315200"/>
              <a:gd name="connsiteY30" fmla="*/ 5612524 h 6731875"/>
              <a:gd name="connsiteX31" fmla="*/ 2569779 w 7315200"/>
              <a:gd name="connsiteY31" fmla="*/ 5565227 h 6731875"/>
              <a:gd name="connsiteX32" fmla="*/ 2632841 w 7315200"/>
              <a:gd name="connsiteY32" fmla="*/ 5454868 h 6731875"/>
              <a:gd name="connsiteX33" fmla="*/ 2648607 w 7315200"/>
              <a:gd name="connsiteY33" fmla="*/ 5407572 h 6731875"/>
              <a:gd name="connsiteX34" fmla="*/ 2695903 w 7315200"/>
              <a:gd name="connsiteY34" fmla="*/ 5344510 h 6731875"/>
              <a:gd name="connsiteX35" fmla="*/ 2758965 w 7315200"/>
              <a:gd name="connsiteY35" fmla="*/ 5234151 h 6731875"/>
              <a:gd name="connsiteX36" fmla="*/ 2790496 w 7315200"/>
              <a:gd name="connsiteY36" fmla="*/ 5186855 h 6731875"/>
              <a:gd name="connsiteX37" fmla="*/ 2806262 w 7315200"/>
              <a:gd name="connsiteY37" fmla="*/ 5139558 h 6731875"/>
              <a:gd name="connsiteX38" fmla="*/ 2869324 w 7315200"/>
              <a:gd name="connsiteY38" fmla="*/ 5029200 h 6731875"/>
              <a:gd name="connsiteX39" fmla="*/ 2932386 w 7315200"/>
              <a:gd name="connsiteY39" fmla="*/ 4840013 h 6731875"/>
              <a:gd name="connsiteX40" fmla="*/ 2979682 w 7315200"/>
              <a:gd name="connsiteY40" fmla="*/ 4729655 h 6731875"/>
              <a:gd name="connsiteX41" fmla="*/ 3090041 w 7315200"/>
              <a:gd name="connsiteY41" fmla="*/ 4698124 h 6731875"/>
              <a:gd name="connsiteX42" fmla="*/ 3137338 w 7315200"/>
              <a:gd name="connsiteY42" fmla="*/ 4666593 h 6731875"/>
              <a:gd name="connsiteX43" fmla="*/ 3184634 w 7315200"/>
              <a:gd name="connsiteY43" fmla="*/ 4650827 h 6731875"/>
              <a:gd name="connsiteX44" fmla="*/ 3389586 w 7315200"/>
              <a:gd name="connsiteY44" fmla="*/ 4603531 h 6731875"/>
              <a:gd name="connsiteX45" fmla="*/ 3484179 w 7315200"/>
              <a:gd name="connsiteY45" fmla="*/ 4524703 h 6731875"/>
              <a:gd name="connsiteX46" fmla="*/ 3563007 w 7315200"/>
              <a:gd name="connsiteY46" fmla="*/ 4430110 h 6731875"/>
              <a:gd name="connsiteX47" fmla="*/ 3610303 w 7315200"/>
              <a:gd name="connsiteY47" fmla="*/ 4382813 h 6731875"/>
              <a:gd name="connsiteX48" fmla="*/ 3657600 w 7315200"/>
              <a:gd name="connsiteY48" fmla="*/ 4288220 h 6731875"/>
              <a:gd name="connsiteX49" fmla="*/ 3673365 w 7315200"/>
              <a:gd name="connsiteY49" fmla="*/ 4240924 h 6731875"/>
              <a:gd name="connsiteX50" fmla="*/ 3704896 w 7315200"/>
              <a:gd name="connsiteY50" fmla="*/ 4177862 h 6731875"/>
              <a:gd name="connsiteX51" fmla="*/ 3720662 w 7315200"/>
              <a:gd name="connsiteY51" fmla="*/ 4114800 h 6731875"/>
              <a:gd name="connsiteX52" fmla="*/ 3736427 w 7315200"/>
              <a:gd name="connsiteY52" fmla="*/ 4067503 h 6731875"/>
              <a:gd name="connsiteX53" fmla="*/ 3752193 w 7315200"/>
              <a:gd name="connsiteY53" fmla="*/ 4004441 h 6731875"/>
              <a:gd name="connsiteX54" fmla="*/ 3815255 w 7315200"/>
              <a:gd name="connsiteY54" fmla="*/ 3846786 h 6731875"/>
              <a:gd name="connsiteX55" fmla="*/ 3878317 w 7315200"/>
              <a:gd name="connsiteY55" fmla="*/ 3704896 h 6731875"/>
              <a:gd name="connsiteX56" fmla="*/ 3909848 w 7315200"/>
              <a:gd name="connsiteY56" fmla="*/ 3610303 h 6731875"/>
              <a:gd name="connsiteX57" fmla="*/ 3925614 w 7315200"/>
              <a:gd name="connsiteY57" fmla="*/ 3563006 h 6731875"/>
              <a:gd name="connsiteX58" fmla="*/ 3957145 w 7315200"/>
              <a:gd name="connsiteY58" fmla="*/ 3515710 h 6731875"/>
              <a:gd name="connsiteX59" fmla="*/ 4035972 w 7315200"/>
              <a:gd name="connsiteY59" fmla="*/ 3373820 h 6731875"/>
              <a:gd name="connsiteX60" fmla="*/ 4051738 w 7315200"/>
              <a:gd name="connsiteY60" fmla="*/ 3326524 h 6731875"/>
              <a:gd name="connsiteX61" fmla="*/ 4114800 w 7315200"/>
              <a:gd name="connsiteY61" fmla="*/ 3231931 h 6731875"/>
              <a:gd name="connsiteX62" fmla="*/ 4193627 w 7315200"/>
              <a:gd name="connsiteY62" fmla="*/ 3058510 h 6731875"/>
              <a:gd name="connsiteX63" fmla="*/ 4225158 w 7315200"/>
              <a:gd name="connsiteY63" fmla="*/ 3011213 h 6731875"/>
              <a:gd name="connsiteX64" fmla="*/ 4256689 w 7315200"/>
              <a:gd name="connsiteY64" fmla="*/ 2932386 h 6731875"/>
              <a:gd name="connsiteX65" fmla="*/ 4303986 w 7315200"/>
              <a:gd name="connsiteY65" fmla="*/ 2853558 h 6731875"/>
              <a:gd name="connsiteX66" fmla="*/ 4319751 w 7315200"/>
              <a:gd name="connsiteY66" fmla="*/ 2806262 h 6731875"/>
              <a:gd name="connsiteX67" fmla="*/ 4351282 w 7315200"/>
              <a:gd name="connsiteY67" fmla="*/ 2727434 h 6731875"/>
              <a:gd name="connsiteX68" fmla="*/ 4382814 w 7315200"/>
              <a:gd name="connsiteY68" fmla="*/ 2680137 h 6731875"/>
              <a:gd name="connsiteX69" fmla="*/ 4430110 w 7315200"/>
              <a:gd name="connsiteY69" fmla="*/ 2490951 h 6731875"/>
              <a:gd name="connsiteX70" fmla="*/ 4445876 w 7315200"/>
              <a:gd name="connsiteY70" fmla="*/ 2443655 h 6731875"/>
              <a:gd name="connsiteX71" fmla="*/ 4493172 w 7315200"/>
              <a:gd name="connsiteY71" fmla="*/ 2412124 h 6731875"/>
              <a:gd name="connsiteX72" fmla="*/ 4556234 w 7315200"/>
              <a:gd name="connsiteY72" fmla="*/ 2333296 h 6731875"/>
              <a:gd name="connsiteX73" fmla="*/ 4587765 w 7315200"/>
              <a:gd name="connsiteY73" fmla="*/ 2286000 h 6731875"/>
              <a:gd name="connsiteX74" fmla="*/ 4619296 w 7315200"/>
              <a:gd name="connsiteY74" fmla="*/ 2254468 h 6731875"/>
              <a:gd name="connsiteX75" fmla="*/ 4698124 w 7315200"/>
              <a:gd name="connsiteY75" fmla="*/ 2144110 h 6731875"/>
              <a:gd name="connsiteX76" fmla="*/ 4745420 w 7315200"/>
              <a:gd name="connsiteY76" fmla="*/ 2112579 h 6731875"/>
              <a:gd name="connsiteX77" fmla="*/ 4871545 w 7315200"/>
              <a:gd name="connsiteY77" fmla="*/ 2033751 h 6731875"/>
              <a:gd name="connsiteX78" fmla="*/ 4966138 w 7315200"/>
              <a:gd name="connsiteY78" fmla="*/ 1986455 h 6731875"/>
              <a:gd name="connsiteX79" fmla="*/ 5060731 w 7315200"/>
              <a:gd name="connsiteY79" fmla="*/ 1939158 h 6731875"/>
              <a:gd name="connsiteX80" fmla="*/ 5108027 w 7315200"/>
              <a:gd name="connsiteY80" fmla="*/ 1907627 h 6731875"/>
              <a:gd name="connsiteX81" fmla="*/ 5202620 w 7315200"/>
              <a:gd name="connsiteY81" fmla="*/ 1876096 h 6731875"/>
              <a:gd name="connsiteX82" fmla="*/ 5249917 w 7315200"/>
              <a:gd name="connsiteY82" fmla="*/ 1860331 h 6731875"/>
              <a:gd name="connsiteX83" fmla="*/ 5360276 w 7315200"/>
              <a:gd name="connsiteY83" fmla="*/ 1844565 h 6731875"/>
              <a:gd name="connsiteX84" fmla="*/ 5407572 w 7315200"/>
              <a:gd name="connsiteY84" fmla="*/ 1828800 h 6731875"/>
              <a:gd name="connsiteX85" fmla="*/ 5470634 w 7315200"/>
              <a:gd name="connsiteY85" fmla="*/ 1813034 h 6731875"/>
              <a:gd name="connsiteX86" fmla="*/ 5565227 w 7315200"/>
              <a:gd name="connsiteY86" fmla="*/ 1734206 h 6731875"/>
              <a:gd name="connsiteX87" fmla="*/ 5628289 w 7315200"/>
              <a:gd name="connsiteY87" fmla="*/ 1686910 h 6731875"/>
              <a:gd name="connsiteX88" fmla="*/ 5722882 w 7315200"/>
              <a:gd name="connsiteY88" fmla="*/ 1623848 h 6731875"/>
              <a:gd name="connsiteX89" fmla="*/ 5754414 w 7315200"/>
              <a:gd name="connsiteY89" fmla="*/ 1592317 h 6731875"/>
              <a:gd name="connsiteX90" fmla="*/ 5785945 w 7315200"/>
              <a:gd name="connsiteY90" fmla="*/ 1529255 h 6731875"/>
              <a:gd name="connsiteX91" fmla="*/ 5817476 w 7315200"/>
              <a:gd name="connsiteY91" fmla="*/ 1481958 h 6731875"/>
              <a:gd name="connsiteX92" fmla="*/ 5864772 w 7315200"/>
              <a:gd name="connsiteY92" fmla="*/ 1387365 h 6731875"/>
              <a:gd name="connsiteX93" fmla="*/ 5927834 w 7315200"/>
              <a:gd name="connsiteY93" fmla="*/ 1371600 h 6731875"/>
              <a:gd name="connsiteX94" fmla="*/ 6022427 w 7315200"/>
              <a:gd name="connsiteY94" fmla="*/ 1340068 h 6731875"/>
              <a:gd name="connsiteX95" fmla="*/ 6479627 w 7315200"/>
              <a:gd name="connsiteY95" fmla="*/ 1308537 h 6731875"/>
              <a:gd name="connsiteX96" fmla="*/ 6574220 w 7315200"/>
              <a:gd name="connsiteY96" fmla="*/ 1277006 h 6731875"/>
              <a:gd name="connsiteX97" fmla="*/ 6637282 w 7315200"/>
              <a:gd name="connsiteY97" fmla="*/ 1229710 h 6731875"/>
              <a:gd name="connsiteX98" fmla="*/ 6716110 w 7315200"/>
              <a:gd name="connsiteY98" fmla="*/ 1150882 h 6731875"/>
              <a:gd name="connsiteX99" fmla="*/ 6763407 w 7315200"/>
              <a:gd name="connsiteY99" fmla="*/ 1103586 h 6731875"/>
              <a:gd name="connsiteX100" fmla="*/ 6842234 w 7315200"/>
              <a:gd name="connsiteY100" fmla="*/ 993227 h 6731875"/>
              <a:gd name="connsiteX101" fmla="*/ 6952593 w 7315200"/>
              <a:gd name="connsiteY101" fmla="*/ 851337 h 6731875"/>
              <a:gd name="connsiteX102" fmla="*/ 6984124 w 7315200"/>
              <a:gd name="connsiteY102" fmla="*/ 804041 h 6731875"/>
              <a:gd name="connsiteX103" fmla="*/ 7062951 w 7315200"/>
              <a:gd name="connsiteY103" fmla="*/ 630620 h 6731875"/>
              <a:gd name="connsiteX104" fmla="*/ 7078717 w 7315200"/>
              <a:gd name="connsiteY104" fmla="*/ 583324 h 6731875"/>
              <a:gd name="connsiteX105" fmla="*/ 7110248 w 7315200"/>
              <a:gd name="connsiteY105" fmla="*/ 536027 h 6731875"/>
              <a:gd name="connsiteX106" fmla="*/ 7157545 w 7315200"/>
              <a:gd name="connsiteY106" fmla="*/ 441434 h 6731875"/>
              <a:gd name="connsiteX107" fmla="*/ 7204841 w 7315200"/>
              <a:gd name="connsiteY107" fmla="*/ 346841 h 6731875"/>
              <a:gd name="connsiteX108" fmla="*/ 7236372 w 7315200"/>
              <a:gd name="connsiteY108" fmla="*/ 252248 h 6731875"/>
              <a:gd name="connsiteX109" fmla="*/ 7252138 w 7315200"/>
              <a:gd name="connsiteY109" fmla="*/ 204951 h 6731875"/>
              <a:gd name="connsiteX110" fmla="*/ 7283669 w 7315200"/>
              <a:gd name="connsiteY110" fmla="*/ 78827 h 6731875"/>
              <a:gd name="connsiteX111" fmla="*/ 7315200 w 7315200"/>
              <a:gd name="connsiteY111" fmla="*/ 0 h 67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315200" h="6731875">
                <a:moveTo>
                  <a:pt x="0" y="6731875"/>
                </a:moveTo>
                <a:cubicBezTo>
                  <a:pt x="26276" y="6721365"/>
                  <a:pt x="55799" y="6716793"/>
                  <a:pt x="78827" y="6700344"/>
                </a:cubicBezTo>
                <a:cubicBezTo>
                  <a:pt x="94245" y="6689331"/>
                  <a:pt x="94290" y="6663090"/>
                  <a:pt x="110358" y="6653048"/>
                </a:cubicBezTo>
                <a:cubicBezTo>
                  <a:pt x="138543" y="6635433"/>
                  <a:pt x="204951" y="6621517"/>
                  <a:pt x="204951" y="6621517"/>
                </a:cubicBezTo>
                <a:cubicBezTo>
                  <a:pt x="236482" y="6600496"/>
                  <a:pt x="263594" y="6570439"/>
                  <a:pt x="299545" y="6558455"/>
                </a:cubicBezTo>
                <a:cubicBezTo>
                  <a:pt x="315310" y="6553200"/>
                  <a:pt x="331977" y="6550121"/>
                  <a:pt x="346841" y="6542689"/>
                </a:cubicBezTo>
                <a:cubicBezTo>
                  <a:pt x="405559" y="6513330"/>
                  <a:pt x="389130" y="6507448"/>
                  <a:pt x="441434" y="6463862"/>
                </a:cubicBezTo>
                <a:cubicBezTo>
                  <a:pt x="455990" y="6451732"/>
                  <a:pt x="473312" y="6443344"/>
                  <a:pt x="488731" y="6432331"/>
                </a:cubicBezTo>
                <a:cubicBezTo>
                  <a:pt x="510113" y="6417058"/>
                  <a:pt x="530772" y="6400800"/>
                  <a:pt x="551793" y="6385034"/>
                </a:cubicBezTo>
                <a:cubicBezTo>
                  <a:pt x="562179" y="6353876"/>
                  <a:pt x="571304" y="6312669"/>
                  <a:pt x="599089" y="6290441"/>
                </a:cubicBezTo>
                <a:cubicBezTo>
                  <a:pt x="612066" y="6280060"/>
                  <a:pt x="631522" y="6282107"/>
                  <a:pt x="646386" y="6274675"/>
                </a:cubicBezTo>
                <a:cubicBezTo>
                  <a:pt x="663333" y="6266201"/>
                  <a:pt x="675238" y="6247484"/>
                  <a:pt x="693682" y="6243144"/>
                </a:cubicBezTo>
                <a:cubicBezTo>
                  <a:pt x="766026" y="6226122"/>
                  <a:pt x="840827" y="6222123"/>
                  <a:pt x="914400" y="6211613"/>
                </a:cubicBezTo>
                <a:cubicBezTo>
                  <a:pt x="930165" y="6201103"/>
                  <a:pt x="944749" y="6188556"/>
                  <a:pt x="961696" y="6180082"/>
                </a:cubicBezTo>
                <a:cubicBezTo>
                  <a:pt x="976560" y="6172650"/>
                  <a:pt x="996016" y="6174698"/>
                  <a:pt x="1008993" y="6164317"/>
                </a:cubicBezTo>
                <a:cubicBezTo>
                  <a:pt x="1023789" y="6152480"/>
                  <a:pt x="1028394" y="6131576"/>
                  <a:pt x="1040524" y="6117020"/>
                </a:cubicBezTo>
                <a:cubicBezTo>
                  <a:pt x="1054797" y="6099892"/>
                  <a:pt x="1073547" y="6086852"/>
                  <a:pt x="1087820" y="6069724"/>
                </a:cubicBezTo>
                <a:cubicBezTo>
                  <a:pt x="1099950" y="6055168"/>
                  <a:pt x="1107221" y="6036983"/>
                  <a:pt x="1119351" y="6022427"/>
                </a:cubicBezTo>
                <a:cubicBezTo>
                  <a:pt x="1133624" y="6005299"/>
                  <a:pt x="1152960" y="5992730"/>
                  <a:pt x="1166648" y="5975131"/>
                </a:cubicBezTo>
                <a:cubicBezTo>
                  <a:pt x="1189914" y="5945218"/>
                  <a:pt x="1198179" y="5901558"/>
                  <a:pt x="1229710" y="5880537"/>
                </a:cubicBezTo>
                <a:cubicBezTo>
                  <a:pt x="1245476" y="5870027"/>
                  <a:pt x="1260059" y="5857480"/>
                  <a:pt x="1277007" y="5849006"/>
                </a:cubicBezTo>
                <a:cubicBezTo>
                  <a:pt x="1317914" y="5828553"/>
                  <a:pt x="1378534" y="5825547"/>
                  <a:pt x="1418896" y="5817475"/>
                </a:cubicBezTo>
                <a:cubicBezTo>
                  <a:pt x="1440143" y="5813226"/>
                  <a:pt x="1461124" y="5807663"/>
                  <a:pt x="1481958" y="5801710"/>
                </a:cubicBezTo>
                <a:cubicBezTo>
                  <a:pt x="1497937" y="5797145"/>
                  <a:pt x="1512699" y="5787384"/>
                  <a:pt x="1529255" y="5785944"/>
                </a:cubicBezTo>
                <a:cubicBezTo>
                  <a:pt x="1634094" y="5776828"/>
                  <a:pt x="1739462" y="5775434"/>
                  <a:pt x="1844565" y="5770179"/>
                </a:cubicBezTo>
                <a:cubicBezTo>
                  <a:pt x="1886606" y="5764924"/>
                  <a:pt x="1928408" y="5757141"/>
                  <a:pt x="1970689" y="5754413"/>
                </a:cubicBezTo>
                <a:cubicBezTo>
                  <a:pt x="2091421" y="5746624"/>
                  <a:pt x="2212955" y="5751097"/>
                  <a:pt x="2333296" y="5738648"/>
                </a:cubicBezTo>
                <a:cubicBezTo>
                  <a:pt x="2366356" y="5735228"/>
                  <a:pt x="2396358" y="5717627"/>
                  <a:pt x="2427889" y="5707117"/>
                </a:cubicBezTo>
                <a:lnTo>
                  <a:pt x="2475186" y="5691351"/>
                </a:lnTo>
                <a:cubicBezTo>
                  <a:pt x="2485696" y="5675586"/>
                  <a:pt x="2493319" y="5657453"/>
                  <a:pt x="2506717" y="5644055"/>
                </a:cubicBezTo>
                <a:cubicBezTo>
                  <a:pt x="2520115" y="5630657"/>
                  <a:pt x="2542177" y="5627320"/>
                  <a:pt x="2554014" y="5612524"/>
                </a:cubicBezTo>
                <a:cubicBezTo>
                  <a:pt x="2564395" y="5599547"/>
                  <a:pt x="2563233" y="5580502"/>
                  <a:pt x="2569779" y="5565227"/>
                </a:cubicBezTo>
                <a:cubicBezTo>
                  <a:pt x="2652679" y="5371790"/>
                  <a:pt x="2553690" y="5613169"/>
                  <a:pt x="2632841" y="5454868"/>
                </a:cubicBezTo>
                <a:cubicBezTo>
                  <a:pt x="2640273" y="5440004"/>
                  <a:pt x="2640362" y="5422001"/>
                  <a:pt x="2648607" y="5407572"/>
                </a:cubicBezTo>
                <a:cubicBezTo>
                  <a:pt x="2661643" y="5384758"/>
                  <a:pt x="2680631" y="5365892"/>
                  <a:pt x="2695903" y="5344510"/>
                </a:cubicBezTo>
                <a:cubicBezTo>
                  <a:pt x="2750776" y="5267687"/>
                  <a:pt x="2706178" y="5326528"/>
                  <a:pt x="2758965" y="5234151"/>
                </a:cubicBezTo>
                <a:cubicBezTo>
                  <a:pt x="2768366" y="5217700"/>
                  <a:pt x="2782022" y="5203802"/>
                  <a:pt x="2790496" y="5186855"/>
                </a:cubicBezTo>
                <a:cubicBezTo>
                  <a:pt x="2797928" y="5171991"/>
                  <a:pt x="2799716" y="5154833"/>
                  <a:pt x="2806262" y="5139558"/>
                </a:cubicBezTo>
                <a:cubicBezTo>
                  <a:pt x="2830265" y="5083550"/>
                  <a:pt x="2837657" y="5076700"/>
                  <a:pt x="2869324" y="5029200"/>
                </a:cubicBezTo>
                <a:lnTo>
                  <a:pt x="2932386" y="4840013"/>
                </a:lnTo>
                <a:cubicBezTo>
                  <a:pt x="2946157" y="4798701"/>
                  <a:pt x="2941894" y="4759885"/>
                  <a:pt x="2979682" y="4729655"/>
                </a:cubicBezTo>
                <a:cubicBezTo>
                  <a:pt x="2989964" y="4721429"/>
                  <a:pt x="3085918" y="4699155"/>
                  <a:pt x="3090041" y="4698124"/>
                </a:cubicBezTo>
                <a:cubicBezTo>
                  <a:pt x="3105807" y="4687614"/>
                  <a:pt x="3120391" y="4675067"/>
                  <a:pt x="3137338" y="4666593"/>
                </a:cubicBezTo>
                <a:cubicBezTo>
                  <a:pt x="3152202" y="4659161"/>
                  <a:pt x="3168512" y="4654858"/>
                  <a:pt x="3184634" y="4650827"/>
                </a:cubicBezTo>
                <a:cubicBezTo>
                  <a:pt x="3252653" y="4633822"/>
                  <a:pt x="3321269" y="4619296"/>
                  <a:pt x="3389586" y="4603531"/>
                </a:cubicBezTo>
                <a:cubicBezTo>
                  <a:pt x="3527753" y="4465361"/>
                  <a:pt x="3352491" y="4634443"/>
                  <a:pt x="3484179" y="4524703"/>
                </a:cubicBezTo>
                <a:cubicBezTo>
                  <a:pt x="3559545" y="4461898"/>
                  <a:pt x="3506640" y="4497750"/>
                  <a:pt x="3563007" y="4430110"/>
                </a:cubicBezTo>
                <a:cubicBezTo>
                  <a:pt x="3577280" y="4412982"/>
                  <a:pt x="3594538" y="4398579"/>
                  <a:pt x="3610303" y="4382813"/>
                </a:cubicBezTo>
                <a:cubicBezTo>
                  <a:pt x="3649933" y="4263927"/>
                  <a:pt x="3596473" y="4410475"/>
                  <a:pt x="3657600" y="4288220"/>
                </a:cubicBezTo>
                <a:cubicBezTo>
                  <a:pt x="3665032" y="4273356"/>
                  <a:pt x="3666819" y="4256198"/>
                  <a:pt x="3673365" y="4240924"/>
                </a:cubicBezTo>
                <a:cubicBezTo>
                  <a:pt x="3682623" y="4219322"/>
                  <a:pt x="3696644" y="4199867"/>
                  <a:pt x="3704896" y="4177862"/>
                </a:cubicBezTo>
                <a:cubicBezTo>
                  <a:pt x="3712504" y="4157574"/>
                  <a:pt x="3714709" y="4135634"/>
                  <a:pt x="3720662" y="4114800"/>
                </a:cubicBezTo>
                <a:cubicBezTo>
                  <a:pt x="3725227" y="4098821"/>
                  <a:pt x="3731862" y="4083482"/>
                  <a:pt x="3736427" y="4067503"/>
                </a:cubicBezTo>
                <a:cubicBezTo>
                  <a:pt x="3742380" y="4046669"/>
                  <a:pt x="3745967" y="4025195"/>
                  <a:pt x="3752193" y="4004441"/>
                </a:cubicBezTo>
                <a:cubicBezTo>
                  <a:pt x="3814941" y="3795284"/>
                  <a:pt x="3752042" y="4004819"/>
                  <a:pt x="3815255" y="3846786"/>
                </a:cubicBezTo>
                <a:cubicBezTo>
                  <a:pt x="3871540" y="3706075"/>
                  <a:pt x="3817654" y="3795892"/>
                  <a:pt x="3878317" y="3704896"/>
                </a:cubicBezTo>
                <a:lnTo>
                  <a:pt x="3909848" y="3610303"/>
                </a:lnTo>
                <a:cubicBezTo>
                  <a:pt x="3915103" y="3594537"/>
                  <a:pt x="3916396" y="3576833"/>
                  <a:pt x="3925614" y="3563006"/>
                </a:cubicBezTo>
                <a:lnTo>
                  <a:pt x="3957145" y="3515710"/>
                </a:lnTo>
                <a:cubicBezTo>
                  <a:pt x="3984893" y="3432462"/>
                  <a:pt x="3963692" y="3482240"/>
                  <a:pt x="4035972" y="3373820"/>
                </a:cubicBezTo>
                <a:cubicBezTo>
                  <a:pt x="4045190" y="3359993"/>
                  <a:pt x="4043667" y="3341051"/>
                  <a:pt x="4051738" y="3326524"/>
                </a:cubicBezTo>
                <a:cubicBezTo>
                  <a:pt x="4070142" y="3293397"/>
                  <a:pt x="4093779" y="3263462"/>
                  <a:pt x="4114800" y="3231931"/>
                </a:cubicBezTo>
                <a:cubicBezTo>
                  <a:pt x="4288066" y="2972032"/>
                  <a:pt x="4126664" y="3192438"/>
                  <a:pt x="4193627" y="3058510"/>
                </a:cubicBezTo>
                <a:cubicBezTo>
                  <a:pt x="4202101" y="3041562"/>
                  <a:pt x="4216684" y="3028161"/>
                  <a:pt x="4225158" y="3011213"/>
                </a:cubicBezTo>
                <a:cubicBezTo>
                  <a:pt x="4237814" y="2985901"/>
                  <a:pt x="4244033" y="2957698"/>
                  <a:pt x="4256689" y="2932386"/>
                </a:cubicBezTo>
                <a:cubicBezTo>
                  <a:pt x="4270393" y="2904978"/>
                  <a:pt x="4290282" y="2880966"/>
                  <a:pt x="4303986" y="2853558"/>
                </a:cubicBezTo>
                <a:cubicBezTo>
                  <a:pt x="4311418" y="2838694"/>
                  <a:pt x="4313916" y="2821822"/>
                  <a:pt x="4319751" y="2806262"/>
                </a:cubicBezTo>
                <a:cubicBezTo>
                  <a:pt x="4329688" y="2779764"/>
                  <a:pt x="4338626" y="2752746"/>
                  <a:pt x="4351282" y="2727434"/>
                </a:cubicBezTo>
                <a:cubicBezTo>
                  <a:pt x="4359756" y="2710486"/>
                  <a:pt x="4372303" y="2695903"/>
                  <a:pt x="4382814" y="2680137"/>
                </a:cubicBezTo>
                <a:cubicBezTo>
                  <a:pt x="4446530" y="2488990"/>
                  <a:pt x="4387649" y="2682025"/>
                  <a:pt x="4430110" y="2490951"/>
                </a:cubicBezTo>
                <a:cubicBezTo>
                  <a:pt x="4433715" y="2474729"/>
                  <a:pt x="4435495" y="2456632"/>
                  <a:pt x="4445876" y="2443655"/>
                </a:cubicBezTo>
                <a:cubicBezTo>
                  <a:pt x="4457713" y="2428859"/>
                  <a:pt x="4477407" y="2422634"/>
                  <a:pt x="4493172" y="2412124"/>
                </a:cubicBezTo>
                <a:cubicBezTo>
                  <a:pt x="4523865" y="2320047"/>
                  <a:pt x="4484923" y="2404607"/>
                  <a:pt x="4556234" y="2333296"/>
                </a:cubicBezTo>
                <a:cubicBezTo>
                  <a:pt x="4569632" y="2319898"/>
                  <a:pt x="4575929" y="2300796"/>
                  <a:pt x="4587765" y="2286000"/>
                </a:cubicBezTo>
                <a:cubicBezTo>
                  <a:pt x="4597050" y="2274393"/>
                  <a:pt x="4610011" y="2266075"/>
                  <a:pt x="4619296" y="2254468"/>
                </a:cubicBezTo>
                <a:cubicBezTo>
                  <a:pt x="4655102" y="2209710"/>
                  <a:pt x="4653743" y="2188491"/>
                  <a:pt x="4698124" y="2144110"/>
                </a:cubicBezTo>
                <a:cubicBezTo>
                  <a:pt x="4711522" y="2130712"/>
                  <a:pt x="4730002" y="2123592"/>
                  <a:pt x="4745420" y="2112579"/>
                </a:cubicBezTo>
                <a:cubicBezTo>
                  <a:pt x="4896139" y="2004921"/>
                  <a:pt x="4723393" y="2118409"/>
                  <a:pt x="4871545" y="2033751"/>
                </a:cubicBezTo>
                <a:cubicBezTo>
                  <a:pt x="4957119" y="1984852"/>
                  <a:pt x="4879421" y="2015360"/>
                  <a:pt x="4966138" y="1986455"/>
                </a:cubicBezTo>
                <a:cubicBezTo>
                  <a:pt x="5101680" y="1896093"/>
                  <a:pt x="4930188" y="2004430"/>
                  <a:pt x="5060731" y="1939158"/>
                </a:cubicBezTo>
                <a:cubicBezTo>
                  <a:pt x="5077678" y="1930684"/>
                  <a:pt x="5090712" y="1915322"/>
                  <a:pt x="5108027" y="1907627"/>
                </a:cubicBezTo>
                <a:cubicBezTo>
                  <a:pt x="5138399" y="1894128"/>
                  <a:pt x="5171089" y="1886606"/>
                  <a:pt x="5202620" y="1876096"/>
                </a:cubicBezTo>
                <a:cubicBezTo>
                  <a:pt x="5218386" y="1870841"/>
                  <a:pt x="5233466" y="1862681"/>
                  <a:pt x="5249917" y="1860331"/>
                </a:cubicBezTo>
                <a:lnTo>
                  <a:pt x="5360276" y="1844565"/>
                </a:lnTo>
                <a:cubicBezTo>
                  <a:pt x="5376041" y="1839310"/>
                  <a:pt x="5391593" y="1833365"/>
                  <a:pt x="5407572" y="1828800"/>
                </a:cubicBezTo>
                <a:cubicBezTo>
                  <a:pt x="5428406" y="1822847"/>
                  <a:pt x="5450718" y="1821569"/>
                  <a:pt x="5470634" y="1813034"/>
                </a:cubicBezTo>
                <a:cubicBezTo>
                  <a:pt x="5517097" y="1793121"/>
                  <a:pt x="5527343" y="1766678"/>
                  <a:pt x="5565227" y="1734206"/>
                </a:cubicBezTo>
                <a:cubicBezTo>
                  <a:pt x="5585177" y="1717106"/>
                  <a:pt x="5606763" y="1701978"/>
                  <a:pt x="5628289" y="1686910"/>
                </a:cubicBezTo>
                <a:cubicBezTo>
                  <a:pt x="5659334" y="1665178"/>
                  <a:pt x="5696085" y="1650644"/>
                  <a:pt x="5722882" y="1623848"/>
                </a:cubicBezTo>
                <a:lnTo>
                  <a:pt x="5754414" y="1592317"/>
                </a:lnTo>
                <a:cubicBezTo>
                  <a:pt x="5764924" y="1571296"/>
                  <a:pt x="5774285" y="1549660"/>
                  <a:pt x="5785945" y="1529255"/>
                </a:cubicBezTo>
                <a:cubicBezTo>
                  <a:pt x="5795346" y="1512804"/>
                  <a:pt x="5809002" y="1498906"/>
                  <a:pt x="5817476" y="1481958"/>
                </a:cubicBezTo>
                <a:cubicBezTo>
                  <a:pt x="5833214" y="1450481"/>
                  <a:pt x="5830885" y="1409956"/>
                  <a:pt x="5864772" y="1387365"/>
                </a:cubicBezTo>
                <a:cubicBezTo>
                  <a:pt x="5882801" y="1375346"/>
                  <a:pt x="5907080" y="1377826"/>
                  <a:pt x="5927834" y="1371600"/>
                </a:cubicBezTo>
                <a:cubicBezTo>
                  <a:pt x="5959669" y="1362049"/>
                  <a:pt x="5990896" y="1350578"/>
                  <a:pt x="6022427" y="1340068"/>
                </a:cubicBezTo>
                <a:cubicBezTo>
                  <a:pt x="6199433" y="1281066"/>
                  <a:pt x="6053199" y="1324939"/>
                  <a:pt x="6479627" y="1308537"/>
                </a:cubicBezTo>
                <a:cubicBezTo>
                  <a:pt x="6511158" y="1298027"/>
                  <a:pt x="6544492" y="1291870"/>
                  <a:pt x="6574220" y="1277006"/>
                </a:cubicBezTo>
                <a:cubicBezTo>
                  <a:pt x="6597722" y="1265255"/>
                  <a:pt x="6617643" y="1247167"/>
                  <a:pt x="6637282" y="1229710"/>
                </a:cubicBezTo>
                <a:cubicBezTo>
                  <a:pt x="6665056" y="1205022"/>
                  <a:pt x="6689834" y="1177158"/>
                  <a:pt x="6716110" y="1150882"/>
                </a:cubicBezTo>
                <a:cubicBezTo>
                  <a:pt x="6731876" y="1135117"/>
                  <a:pt x="6751040" y="1122137"/>
                  <a:pt x="6763407" y="1103586"/>
                </a:cubicBezTo>
                <a:cubicBezTo>
                  <a:pt x="6788360" y="1066156"/>
                  <a:pt x="6812903" y="1027446"/>
                  <a:pt x="6842234" y="993227"/>
                </a:cubicBezTo>
                <a:cubicBezTo>
                  <a:pt x="6953378" y="863559"/>
                  <a:pt x="6814189" y="1058943"/>
                  <a:pt x="6952593" y="851337"/>
                </a:cubicBezTo>
                <a:lnTo>
                  <a:pt x="6984124" y="804041"/>
                </a:lnTo>
                <a:cubicBezTo>
                  <a:pt x="7014752" y="712152"/>
                  <a:pt x="6992457" y="771608"/>
                  <a:pt x="7062951" y="630620"/>
                </a:cubicBezTo>
                <a:cubicBezTo>
                  <a:pt x="7070383" y="615756"/>
                  <a:pt x="7071285" y="598188"/>
                  <a:pt x="7078717" y="583324"/>
                </a:cubicBezTo>
                <a:cubicBezTo>
                  <a:pt x="7087191" y="566377"/>
                  <a:pt x="7101774" y="552974"/>
                  <a:pt x="7110248" y="536027"/>
                </a:cubicBezTo>
                <a:cubicBezTo>
                  <a:pt x="7175521" y="405483"/>
                  <a:pt x="7067181" y="576982"/>
                  <a:pt x="7157545" y="441434"/>
                </a:cubicBezTo>
                <a:cubicBezTo>
                  <a:pt x="7215035" y="268955"/>
                  <a:pt x="7123349" y="530197"/>
                  <a:pt x="7204841" y="346841"/>
                </a:cubicBezTo>
                <a:cubicBezTo>
                  <a:pt x="7218340" y="316469"/>
                  <a:pt x="7225862" y="283779"/>
                  <a:pt x="7236372" y="252248"/>
                </a:cubicBezTo>
                <a:lnTo>
                  <a:pt x="7252138" y="204951"/>
                </a:lnTo>
                <a:cubicBezTo>
                  <a:pt x="7288172" y="96848"/>
                  <a:pt x="7245624" y="231009"/>
                  <a:pt x="7283669" y="78827"/>
                </a:cubicBezTo>
                <a:cubicBezTo>
                  <a:pt x="7293410" y="39861"/>
                  <a:pt x="7298889" y="32621"/>
                  <a:pt x="7315200" y="0"/>
                </a:cubicBezTo>
              </a:path>
            </a:pathLst>
          </a:custGeom>
          <a:noFill/>
          <a:ln w="9842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mc:AlternateContent xmlns:mc="http://schemas.openxmlformats.org/markup-compatibility/2006" xmlns:p14="http://schemas.microsoft.com/office/powerpoint/2010/main">
        <mc:Choice Requires="p14">
          <p:contentPart p14:bwMode="auto" r:id="rId3">
            <p14:nvContentPartPr>
              <p14:cNvPr id="817154" name="Ink 2"/>
              <p14:cNvContentPartPr>
                <a14:cpLocks xmlns:a14="http://schemas.microsoft.com/office/drawing/2010/main" noRot="1" noChangeAspect="1" noEditPoints="1" noChangeArrowheads="1" noChangeShapeType="1"/>
              </p14:cNvContentPartPr>
              <p14:nvPr/>
            </p14:nvContentPartPr>
            <p14:xfrm>
              <a:off x="61604525" y="169662475"/>
              <a:ext cx="0" cy="0"/>
            </p14:xfrm>
          </p:contentPart>
        </mc:Choice>
        <mc:Fallback xmlns="">
          <p:pic>
            <p:nvPicPr>
              <p:cNvPr id="817154" name="Ink 2"/>
              <p:cNvPicPr>
                <a:picLocks noRot="1" noChangeAspect="1" noEditPoints="1" noChangeArrowheads="1" noChangeShapeType="1"/>
              </p:cNvPicPr>
              <p:nvPr/>
            </p:nvPicPr>
            <p:blipFill>
              <a:blip r:embed="rId4"/>
              <a:stretch>
                <a:fillRect/>
              </a:stretch>
            </p:blipFill>
            <p:spPr>
              <a:xfrm>
                <a:off x="61604525" y="169662475"/>
                <a:ext cx="0" cy="0"/>
              </a:xfrm>
              <a:prstGeom prst="rect">
                <a:avLst/>
              </a:prstGeom>
            </p:spPr>
          </p:pic>
        </mc:Fallback>
      </mc:AlternateContent>
      <p:pic>
        <p:nvPicPr>
          <p:cNvPr id="817155" name="Ink 3"/>
          <p:cNvPicPr>
            <a:picLocks noRot="1" noChangeAspect="1" noEditPoints="1" noChangeArrowheads="1" noChangeShapeType="1"/>
          </p:cNvPicPr>
          <p:nvPr/>
        </p:nvPicPr>
        <p:blipFill>
          <a:blip r:embed="rId5"/>
          <a:stretch>
            <a:fillRect/>
          </a:stretch>
        </p:blipFill>
        <p:spPr>
          <a:xfrm>
            <a:off x="2027251" y="7924800"/>
            <a:ext cx="84111" cy="42849"/>
          </a:xfrm>
          <a:prstGeom prst="rect">
            <a:avLst/>
          </a:prstGeom>
        </p:spPr>
      </p:pic>
      <mc:AlternateContent xmlns:mc="http://schemas.openxmlformats.org/markup-compatibility/2006" xmlns:p14="http://schemas.microsoft.com/office/powerpoint/2010/main">
        <mc:Choice Requires="p14">
          <p:contentPart p14:bwMode="auto" r:id="rId6">
            <p14:nvContentPartPr>
              <p14:cNvPr id="817156" name="Ink 4"/>
              <p14:cNvContentPartPr>
                <a14:cpLocks xmlns:a14="http://schemas.microsoft.com/office/drawing/2010/main" noRot="1" noChangeAspect="1" noEditPoints="1" noChangeArrowheads="1" noChangeShapeType="1"/>
              </p14:cNvContentPartPr>
              <p14:nvPr/>
            </p14:nvContentPartPr>
            <p14:xfrm>
              <a:off x="3233738" y="6011863"/>
              <a:ext cx="3894137" cy="3175000"/>
            </p14:xfrm>
          </p:contentPart>
        </mc:Choice>
        <mc:Fallback xmlns="">
          <p:pic>
            <p:nvPicPr>
              <p:cNvPr id="817156" name="Ink 4"/>
              <p:cNvPicPr>
                <a:picLocks noRot="1" noChangeAspect="1" noEditPoints="1" noChangeArrowheads="1" noChangeShapeType="1"/>
              </p:cNvPicPr>
              <p:nvPr/>
            </p:nvPicPr>
            <p:blipFill>
              <a:blip r:embed="rId7"/>
              <a:stretch>
                <a:fillRect/>
              </a:stretch>
            </p:blipFill>
            <p:spPr>
              <a:xfrm>
                <a:off x="3224379" y="6002504"/>
                <a:ext cx="3912855" cy="3193719"/>
              </a:xfrm>
              <a:prstGeom prst="rect">
                <a:avLst/>
              </a:prstGeom>
            </p:spPr>
          </p:pic>
        </mc:Fallback>
      </mc:AlternateContent>
      <p:sp>
        <p:nvSpPr>
          <p:cNvPr id="15" name="Footer Placeholder 4"/>
          <p:cNvSpPr>
            <a:spLocks noGrp="1"/>
          </p:cNvSpPr>
          <p:nvPr>
            <p:ph type="ftr" sz="quarter" idx="3"/>
          </p:nvPr>
        </p:nvSpPr>
        <p:spPr>
          <a:xfrm>
            <a:off x="-50800" y="9301156"/>
            <a:ext cx="8458199" cy="519112"/>
          </a:xfrm>
        </p:spPr>
        <p:txBody>
          <a:body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747171607"/>
      </p:ext>
    </p:extLst>
  </p:cSld>
  <p:clrMapOvr>
    <a:masterClrMapping/>
  </p:clrMapOvr>
  <p:transition spd="slow">
    <p:rand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14</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6" name="Text Box 2"/>
          <p:cNvSpPr txBox="1">
            <a:spLocks noChangeArrowheads="1"/>
          </p:cNvSpPr>
          <p:nvPr/>
        </p:nvSpPr>
        <p:spPr bwMode="auto">
          <a:xfrm>
            <a:off x="1549400" y="5562600"/>
            <a:ext cx="10210800" cy="22860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lvl="0"/>
            <a:r>
              <a:rPr lang="en-US" sz="4800" b="1" dirty="0">
                <a:solidFill>
                  <a:srgbClr val="4D4D4F"/>
                </a:solidFill>
                <a:latin typeface="+mn-lt"/>
                <a:cs typeface="Arial" pitchFamily="34" charset="0"/>
              </a:rPr>
              <a:t>Self Reflect On Your Performance With the Employee Performance Continuum</a:t>
            </a:r>
            <a:br>
              <a:rPr kumimoji="0" lang="en-US" sz="1050" b="1" i="0" u="none" strike="noStrike" cap="none" normalizeH="0" baseline="0" dirty="0">
                <a:ln>
                  <a:noFill/>
                </a:ln>
                <a:solidFill>
                  <a:srgbClr val="000000"/>
                </a:solidFill>
                <a:effectLst/>
                <a:latin typeface="+mn-lt"/>
                <a:cs typeface="Arial" pitchFamily="34" charset="0"/>
              </a:rPr>
            </a:br>
            <a:r>
              <a:rPr lang="en-US" sz="3200" dirty="0">
                <a:latin typeface="+mn-lt"/>
              </a:rPr>
              <a:t>Use the Employee Performance Continuum to think about your performance now and plan for the future.   Use this to help guide future career growth. </a:t>
            </a:r>
            <a:endParaRPr lang="en-US" sz="2400" dirty="0">
              <a:latin typeface="+mn-lt"/>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 name="Line 3"/>
          <p:cNvSpPr>
            <a:spLocks noChangeShapeType="1"/>
          </p:cNvSpPr>
          <p:nvPr/>
        </p:nvSpPr>
        <p:spPr bwMode="auto">
          <a:xfrm flipV="1">
            <a:off x="558800" y="5486400"/>
            <a:ext cx="1158240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pic>
        <p:nvPicPr>
          <p:cNvPr id="9" name="Picture 5"/>
          <p:cNvPicPr>
            <a:picLocks noChangeAspect="1" noChangeArrowheads="1"/>
          </p:cNvPicPr>
          <p:nvPr/>
        </p:nvPicPr>
        <p:blipFill>
          <a:blip r:embed="rId3" cstate="print"/>
          <a:srcRect r="27420"/>
          <a:stretch>
            <a:fillRect/>
          </a:stretch>
        </p:blipFill>
        <p:spPr bwMode="auto">
          <a:xfrm>
            <a:off x="2778021" y="3429001"/>
            <a:ext cx="8067779" cy="1824038"/>
          </a:xfrm>
          <a:prstGeom prst="rect">
            <a:avLst/>
          </a:prstGeom>
          <a:noFill/>
          <a:ln w="9525" algn="in">
            <a:noFill/>
            <a:miter lim="800000"/>
            <a:headEnd/>
            <a:tailEnd/>
          </a:ln>
          <a:effectLst/>
        </p:spPr>
      </p:pic>
      <p:sp>
        <p:nvSpPr>
          <p:cNvPr id="10" name="Text Box 6"/>
          <p:cNvSpPr txBox="1">
            <a:spLocks noChangeArrowheads="1"/>
          </p:cNvSpPr>
          <p:nvPr/>
        </p:nvSpPr>
        <p:spPr bwMode="auto">
          <a:xfrm>
            <a:off x="4857750" y="3810000"/>
            <a:ext cx="1720850" cy="27622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200" b="0" i="0" u="none" strike="noStrike" cap="none" normalizeH="0" baseline="0" dirty="0">
                <a:ln>
                  <a:noFill/>
                </a:ln>
                <a:solidFill>
                  <a:srgbClr val="FFFFFF"/>
                </a:solidFill>
                <a:effectLst/>
                <a:latin typeface="Articulate" pitchFamily="2" charset="0"/>
                <a:cs typeface="Arial" pitchFamily="34" charset="0"/>
              </a:rPr>
              <a:t>2</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208271307"/>
      </p:ext>
    </p:extLst>
  </p:cSld>
  <p:clrMapOvr>
    <a:masterClrMapping/>
  </p:clrMapOvr>
  <p:transition spd="slow">
    <p:rand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9626600" y="8225135"/>
            <a:ext cx="1905000" cy="461665"/>
          </a:xfrm>
          <a:prstGeom prst="rect">
            <a:avLst/>
          </a:prstGeom>
          <a:solidFill>
            <a:schemeClr val="bg1"/>
          </a:solidFill>
        </p:spPr>
        <p:txBody>
          <a:bodyPr wrap="square" rtlCol="0">
            <a:spAutoFit/>
          </a:bodyPr>
          <a:lstStyle/>
          <a:p>
            <a:pPr algn="l"/>
            <a:r>
              <a:rPr lang="en-US" sz="2400" dirty="0">
                <a:latin typeface="Calibri" pitchFamily="34" charset="0"/>
              </a:rPr>
              <a:t>    </a:t>
            </a:r>
            <a:r>
              <a:rPr lang="en-US" sz="2400" b="1" dirty="0">
                <a:solidFill>
                  <a:srgbClr val="92D050"/>
                </a:solidFill>
                <a:latin typeface="Calibri" pitchFamily="34" charset="0"/>
              </a:rPr>
              <a:t>On-Target</a:t>
            </a:r>
            <a:r>
              <a:rPr lang="en-US" sz="1800" b="1" dirty="0">
                <a:solidFill>
                  <a:srgbClr val="92D050"/>
                </a:solidFill>
                <a:latin typeface="Calibri" pitchFamily="34" charset="0"/>
              </a:rPr>
              <a:t> </a:t>
            </a:r>
            <a:endParaRPr lang="en-US" sz="2800" b="1" dirty="0">
              <a:solidFill>
                <a:srgbClr val="92D050"/>
              </a:solidFill>
              <a:latin typeface="Calibri" pitchFamily="34" charset="0"/>
            </a:endParaRPr>
          </a:p>
        </p:txBody>
      </p:sp>
      <p:cxnSp>
        <p:nvCxnSpPr>
          <p:cNvPr id="6" name="Straight Connector 5"/>
          <p:cNvCxnSpPr>
            <a:stCxn id="4" idx="0"/>
            <a:endCxn id="4" idx="2"/>
          </p:cNvCxnSpPr>
          <p:nvPr/>
        </p:nvCxnSpPr>
        <p:spPr bwMode="auto">
          <a:xfrm>
            <a:off x="6429132" y="23622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1886466" y="6255604"/>
            <a:ext cx="2133600" cy="369332"/>
          </a:xfrm>
          <a:prstGeom prst="rect">
            <a:avLst/>
          </a:prstGeom>
          <a:noFill/>
        </p:spPr>
        <p:txBody>
          <a:bodyPr wrap="square" rtlCol="0">
            <a:spAutoFit/>
          </a:bodyPr>
          <a:lstStyle/>
          <a:p>
            <a:pPr algn="l"/>
            <a:r>
              <a:rPr lang="en-US" sz="1800" dirty="0">
                <a:latin typeface="Calibri" pitchFamily="34" charset="0"/>
              </a:rPr>
              <a:t>  </a:t>
            </a:r>
            <a:endParaRPr lang="en-US" sz="1800" b="1" dirty="0">
              <a:solidFill>
                <a:srgbClr val="009999"/>
              </a:solidFill>
              <a:latin typeface="Calibri" pitchFamily="34" charset="0"/>
            </a:endParaRPr>
          </a:p>
        </p:txBody>
      </p:sp>
      <p:sp>
        <p:nvSpPr>
          <p:cNvPr id="35" name="TextBox 34"/>
          <p:cNvSpPr txBox="1"/>
          <p:nvPr/>
        </p:nvSpPr>
        <p:spPr>
          <a:xfrm rot="16200000">
            <a:off x="1144476" y="5936748"/>
            <a:ext cx="3648361" cy="461665"/>
          </a:xfrm>
          <a:prstGeom prst="rect">
            <a:avLst/>
          </a:prstGeom>
          <a:noFill/>
        </p:spPr>
        <p:txBody>
          <a:bodyPr wrap="square" rtlCol="0">
            <a:spAutoFit/>
          </a:bodyPr>
          <a:lstStyle/>
          <a:p>
            <a:pPr algn="l"/>
            <a:r>
              <a:rPr lang="en-US" sz="2400" b="1" dirty="0">
                <a:solidFill>
                  <a:srgbClr val="336699"/>
                </a:solidFill>
                <a:latin typeface="Calibri" pitchFamily="34" charset="0"/>
              </a:rPr>
              <a:t>Grow</a:t>
            </a:r>
          </a:p>
        </p:txBody>
      </p:sp>
      <p:cxnSp>
        <p:nvCxnSpPr>
          <p:cNvPr id="28" name="Straight Connector 27"/>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2953266" y="5373470"/>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 name="Group 67"/>
          <p:cNvGrpSpPr/>
          <p:nvPr/>
        </p:nvGrpSpPr>
        <p:grpSpPr>
          <a:xfrm>
            <a:off x="863600" y="4572000"/>
            <a:ext cx="1752600" cy="10668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016000" y="3846493"/>
              <a:ext cx="1600200" cy="954107"/>
            </a:xfrm>
            <a:prstGeom prst="rect">
              <a:avLst/>
            </a:prstGeom>
            <a:noFill/>
            <a:ln>
              <a:noFill/>
            </a:ln>
          </p:spPr>
          <p:txBody>
            <a:bodyPr wrap="square" rtlCol="0">
              <a:spAutoFit/>
            </a:bodyPr>
            <a:lstStyle/>
            <a:p>
              <a:r>
                <a:rPr lang="en-US" sz="2800" dirty="0">
                  <a:latin typeface="Calibri" pitchFamily="34" charset="0"/>
                </a:rPr>
                <a:t> </a:t>
              </a:r>
              <a:r>
                <a:rPr lang="en-US" sz="2800" b="1" dirty="0">
                  <a:solidFill>
                    <a:schemeClr val="bg1"/>
                  </a:solidFill>
                  <a:latin typeface="Calibri" pitchFamily="34" charset="0"/>
                </a:rPr>
                <a:t>Work </a:t>
              </a:r>
              <a:br>
                <a:rPr lang="en-US" sz="2800" b="1" dirty="0">
                  <a:solidFill>
                    <a:schemeClr val="bg1"/>
                  </a:solidFill>
                  <a:latin typeface="Calibri" pitchFamily="34" charset="0"/>
                </a:rPr>
              </a:br>
              <a:r>
                <a:rPr lang="en-US" sz="2800" b="1" dirty="0">
                  <a:solidFill>
                    <a:schemeClr val="bg1"/>
                  </a:solidFill>
                  <a:latin typeface="Calibri" pitchFamily="34" charset="0"/>
                </a:rPr>
                <a:t>Results </a:t>
              </a:r>
            </a:p>
          </p:txBody>
        </p:sp>
      </p:grpSp>
      <p:sp>
        <p:nvSpPr>
          <p:cNvPr id="20" name="TextBox 19"/>
          <p:cNvSpPr txBox="1"/>
          <p:nvPr/>
        </p:nvSpPr>
        <p:spPr>
          <a:xfrm>
            <a:off x="279400" y="5715000"/>
            <a:ext cx="2717800" cy="1200329"/>
          </a:xfrm>
          <a:prstGeom prst="rect">
            <a:avLst/>
          </a:prstGeom>
          <a:noFill/>
        </p:spPr>
        <p:txBody>
          <a:bodyPr vert="horz" wrap="square" rtlCol="0" anchor="ctr" anchorCtr="1">
            <a:spAutoFit/>
          </a:bodyPr>
          <a:lstStyle/>
          <a:p>
            <a:pPr algn="l"/>
            <a:r>
              <a:rPr lang="en-US" sz="2400" dirty="0">
                <a:solidFill>
                  <a:srgbClr val="FF9900"/>
                </a:solidFill>
                <a:latin typeface="Calibri" pitchFamily="34" charset="0"/>
                <a:ea typeface="Adobe Fan Heiti Std B" pitchFamily="34" charset="-128"/>
              </a:rPr>
              <a:t>Job Responsibilities</a:t>
            </a:r>
          </a:p>
          <a:p>
            <a:pPr algn="l"/>
            <a:r>
              <a:rPr lang="en-US" sz="2400" dirty="0">
                <a:solidFill>
                  <a:srgbClr val="6EA92D"/>
                </a:solidFill>
                <a:latin typeface="Calibri" pitchFamily="34" charset="0"/>
                <a:ea typeface="Adobe Fan Heiti Std B" pitchFamily="34" charset="-128"/>
              </a:rPr>
              <a:t>Goals</a:t>
            </a:r>
          </a:p>
          <a:p>
            <a:pPr algn="l"/>
            <a:r>
              <a:rPr lang="en-US" sz="2400" dirty="0">
                <a:solidFill>
                  <a:srgbClr val="008C82"/>
                </a:solidFill>
                <a:latin typeface="Calibri" pitchFamily="34" charset="0"/>
                <a:ea typeface="Adobe Fan Heiti Std B" pitchFamily="34" charset="-128"/>
              </a:rPr>
              <a:t>Skills</a:t>
            </a:r>
          </a:p>
        </p:txBody>
      </p:sp>
      <p:sp>
        <p:nvSpPr>
          <p:cNvPr id="62" name="Title 3"/>
          <p:cNvSpPr>
            <a:spLocks noGrp="1"/>
          </p:cNvSpPr>
          <p:nvPr>
            <p:ph type="title"/>
          </p:nvPr>
        </p:nvSpPr>
        <p:spPr>
          <a:xfrm>
            <a:off x="635000" y="381000"/>
            <a:ext cx="11703050" cy="1819275"/>
          </a:xfrm>
        </p:spPr>
        <p:txBody>
          <a:bodyPr>
            <a:noAutofit/>
          </a:bodyPr>
          <a:lstStyle/>
          <a:p>
            <a:pPr>
              <a:spcBef>
                <a:spcPts val="1099"/>
              </a:spcBef>
            </a:pPr>
            <a:r>
              <a:rPr lang="en-US" sz="4400" b="1" dirty="0">
                <a:solidFill>
                  <a:srgbClr val="008C82"/>
                </a:solidFill>
                <a:latin typeface="Adobe Fan Heiti Std B" pitchFamily="34" charset="-128"/>
                <a:ea typeface="Adobe Fan Heiti Std B" pitchFamily="34" charset="-128"/>
                <a:cs typeface="Leelawadee" pitchFamily="34" charset="-34"/>
                <a:sym typeface="Gill Sans" charset="0"/>
              </a:rPr>
              <a:t>Employee Performance </a:t>
            </a:r>
            <a:r>
              <a:rPr lang="en-US" sz="4400" b="1" dirty="0">
                <a:solidFill>
                  <a:srgbClr val="6EA92D"/>
                </a:solidFill>
                <a:latin typeface="Adobe Fan Heiti Std B" pitchFamily="34" charset="-128"/>
                <a:ea typeface="Adobe Fan Heiti Std B" pitchFamily="34" charset="-128"/>
                <a:cs typeface="Leelawadee" pitchFamily="34" charset="-34"/>
                <a:sym typeface="Gill Sans" charset="0"/>
              </a:rPr>
              <a:t>Continuum</a:t>
            </a:r>
          </a:p>
        </p:txBody>
      </p:sp>
      <p:sp>
        <p:nvSpPr>
          <p:cNvPr id="76" name="TextBox 75"/>
          <p:cNvSpPr txBox="1"/>
          <p:nvPr/>
        </p:nvSpPr>
        <p:spPr>
          <a:xfrm>
            <a:off x="2082800" y="8153400"/>
            <a:ext cx="1828800" cy="369332"/>
          </a:xfrm>
          <a:prstGeom prst="rect">
            <a:avLst/>
          </a:prstGeom>
          <a:solidFill>
            <a:schemeClr val="bg1"/>
          </a:solidFill>
        </p:spPr>
        <p:txBody>
          <a:bodyPr wrap="square" lIns="0" tIns="0" rIns="0" bIns="0" rtlCol="0">
            <a:spAutoFit/>
          </a:bodyPr>
          <a:lstStyle/>
          <a:p>
            <a:pPr algn="l"/>
            <a:r>
              <a:rPr lang="en-US" sz="2400" dirty="0">
                <a:solidFill>
                  <a:srgbClr val="336699"/>
                </a:solidFill>
                <a:latin typeface="Calibri" pitchFamily="34" charset="0"/>
              </a:rPr>
              <a:t>    </a:t>
            </a:r>
            <a:r>
              <a:rPr lang="en-US" sz="2400" b="1" dirty="0">
                <a:solidFill>
                  <a:srgbClr val="336699"/>
                </a:solidFill>
                <a:latin typeface="Calibri" pitchFamily="34" charset="0"/>
              </a:rPr>
              <a:t>Off-Target</a:t>
            </a:r>
            <a:r>
              <a:rPr lang="en-US" sz="1800" b="1" dirty="0">
                <a:solidFill>
                  <a:srgbClr val="336699"/>
                </a:solidFill>
                <a:latin typeface="Calibri" pitchFamily="34" charset="0"/>
              </a:rPr>
              <a:t> </a:t>
            </a:r>
            <a:endParaRPr lang="en-US" sz="2800" b="1" dirty="0">
              <a:solidFill>
                <a:srgbClr val="336699"/>
              </a:solidFill>
              <a:latin typeface="Calibri" pitchFamily="34" charset="0"/>
            </a:endParaRPr>
          </a:p>
        </p:txBody>
      </p:sp>
      <p:sp>
        <p:nvSpPr>
          <p:cNvPr id="19" name="TextBox 18"/>
          <p:cNvSpPr txBox="1"/>
          <p:nvPr/>
        </p:nvSpPr>
        <p:spPr>
          <a:xfrm>
            <a:off x="2387600" y="1824335"/>
            <a:ext cx="1524001" cy="461665"/>
          </a:xfrm>
          <a:prstGeom prst="rect">
            <a:avLst/>
          </a:prstGeom>
          <a:solidFill>
            <a:schemeClr val="bg1"/>
          </a:solidFill>
        </p:spPr>
        <p:txBody>
          <a:bodyPr wrap="square" rtlCol="0">
            <a:spAutoFit/>
          </a:bodyPr>
          <a:lstStyle/>
          <a:p>
            <a:pPr algn="l"/>
            <a:r>
              <a:rPr lang="en-US" sz="2400" b="1" dirty="0">
                <a:solidFill>
                  <a:srgbClr val="92D050"/>
                </a:solidFill>
                <a:latin typeface="Calibri" pitchFamily="34" charset="0"/>
              </a:rPr>
              <a:t>On-Target</a:t>
            </a:r>
            <a:endParaRPr lang="en-US" sz="2800" b="1" dirty="0">
              <a:solidFill>
                <a:srgbClr val="92D050"/>
              </a:solidFill>
              <a:latin typeface="Calibri" pitchFamily="34" charset="0"/>
            </a:endParaRPr>
          </a:p>
        </p:txBody>
      </p:sp>
      <p:grpSp>
        <p:nvGrpSpPr>
          <p:cNvPr id="3" name="Group 71"/>
          <p:cNvGrpSpPr/>
          <p:nvPr/>
        </p:nvGrpSpPr>
        <p:grpSpPr>
          <a:xfrm>
            <a:off x="4368800" y="8686800"/>
            <a:ext cx="4114800" cy="533400"/>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787400" y="7905750"/>
              <a:ext cx="1600200" cy="769442"/>
            </a:xfrm>
            <a:prstGeom prst="rect">
              <a:avLst/>
            </a:prstGeom>
            <a:noFill/>
            <a:ln>
              <a:noFill/>
            </a:ln>
          </p:spPr>
          <p:txBody>
            <a:bodyPr wrap="square" rtlCol="0">
              <a:spAutoFit/>
            </a:bodyPr>
            <a:lstStyle/>
            <a:p>
              <a:r>
                <a:rPr lang="en-US" sz="2200" dirty="0">
                  <a:latin typeface="Calibri" pitchFamily="34" charset="0"/>
                </a:rPr>
                <a:t> </a:t>
              </a:r>
              <a:r>
                <a:rPr lang="en-US" sz="2200" b="1" dirty="0">
                  <a:solidFill>
                    <a:schemeClr val="bg1"/>
                  </a:solidFill>
                  <a:latin typeface="Calibri" pitchFamily="34" charset="0"/>
                </a:rPr>
                <a:t>Observable Behaviors</a:t>
              </a:r>
            </a:p>
          </p:txBody>
        </p:sp>
      </p:grpSp>
      <p:cxnSp>
        <p:nvCxnSpPr>
          <p:cNvPr id="8" name="Straight Connector 7"/>
          <p:cNvCxnSpPr>
            <a:stCxn id="4" idx="1"/>
            <a:endCxn id="4" idx="3"/>
          </p:cNvCxnSpPr>
          <p:nvPr/>
        </p:nvCxnSpPr>
        <p:spPr bwMode="auto">
          <a:xfrm>
            <a:off x="3149600" y="52959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149600" y="2362200"/>
            <a:ext cx="6559063" cy="586740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60" name="Straight Connector 59"/>
          <p:cNvCxnSpPr/>
          <p:nvPr/>
        </p:nvCxnSpPr>
        <p:spPr bwMode="auto">
          <a:xfrm>
            <a:off x="6426200" y="24384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149600" y="53340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8382000"/>
            <a:ext cx="3352800"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2997200" y="2286000"/>
            <a:ext cx="0" cy="3048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149600" y="5334000"/>
            <a:ext cx="6559063"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2997200" y="4648200"/>
            <a:ext cx="0" cy="22860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29132" y="2362200"/>
            <a:ext cx="0" cy="586740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3759200" y="8382000"/>
            <a:ext cx="3352800"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29" name="Rounded Rectangle 128"/>
          <p:cNvSpPr/>
          <p:nvPr/>
        </p:nvSpPr>
        <p:spPr bwMode="auto">
          <a:xfrm>
            <a:off x="254000" y="4419600"/>
            <a:ext cx="2590800" cy="2743200"/>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7" name="Rectangle 56"/>
          <p:cNvSpPr/>
          <p:nvPr/>
        </p:nvSpPr>
        <p:spPr bwMode="auto">
          <a:xfrm>
            <a:off x="10769600" y="5257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8" name="Rectangle 57"/>
          <p:cNvSpPr/>
          <p:nvPr/>
        </p:nvSpPr>
        <p:spPr bwMode="auto">
          <a:xfrm>
            <a:off x="10160000" y="4953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9" name="TextBox 58"/>
          <p:cNvSpPr txBox="1"/>
          <p:nvPr/>
        </p:nvSpPr>
        <p:spPr>
          <a:xfrm>
            <a:off x="10617200" y="7126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a:t>
            </a:r>
          </a:p>
        </p:txBody>
      </p:sp>
      <p:sp>
        <p:nvSpPr>
          <p:cNvPr id="64" name="Rectangle 63"/>
          <p:cNvSpPr/>
          <p:nvPr/>
        </p:nvSpPr>
        <p:spPr>
          <a:xfrm>
            <a:off x="-127000" y="9339590"/>
            <a:ext cx="7467600" cy="261610"/>
          </a:xfrm>
          <a:prstGeom prst="rect">
            <a:avLst/>
          </a:prstGeom>
        </p:spPr>
        <p:txBody>
          <a:bodyPr wrap="square">
            <a:spAutoFit/>
          </a:bodyPr>
          <a:lstStyle/>
          <a:p>
            <a:r>
              <a:rPr lang="en-US" sz="1100" dirty="0">
                <a:latin typeface="Arial" pitchFamily="34" charset="0"/>
                <a:cs typeface="Arial" pitchFamily="34" charset="0"/>
              </a:rPr>
              <a:t>©2017 Employee Performance Solutions, LLC  All Rights Reserved | Licensing for Use Within Client Organization </a:t>
            </a:r>
          </a:p>
        </p:txBody>
      </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up)">
                                      <p:cBhvr>
                                        <p:cTn id="11" dur="500"/>
                                        <p:tgtEl>
                                          <p:spTgt spid="20"/>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wipe(up)">
                                      <p:cBhvr>
                                        <p:cTn id="15" dur="500"/>
                                        <p:tgtEl>
                                          <p:spTgt spid="12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96"/>
                                        </p:tgtEl>
                                        <p:attrNameLst>
                                          <p:attrName>style.visibility</p:attrName>
                                        </p:attrNameLst>
                                      </p:cBhvr>
                                      <p:to>
                                        <p:strVal val="visible"/>
                                      </p:to>
                                    </p:set>
                                    <p:animEffect transition="in" filter="wipe(left)">
                                      <p:cBhvr>
                                        <p:cTn id="19" dur="500"/>
                                        <p:tgtEl>
                                          <p:spTgt spid="9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75"/>
                                        </p:tgtEl>
                                        <p:attrNameLst>
                                          <p:attrName>style.visibility</p:attrName>
                                        </p:attrNameLst>
                                      </p:cBhvr>
                                      <p:to>
                                        <p:strVal val="visible"/>
                                      </p:to>
                                    </p:set>
                                    <p:animEffect transition="in" filter="wipe(down)">
                                      <p:cBhvr>
                                        <p:cTn id="24" dur="500"/>
                                        <p:tgtEl>
                                          <p:spTgt spid="7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wipe(down)">
                                      <p:cBhvr>
                                        <p:cTn id="34" dur="500"/>
                                        <p:tgtEl>
                                          <p:spTgt spid="3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down)">
                                      <p:cBhvr>
                                        <p:cTn id="39" dur="500"/>
                                        <p:tgtEl>
                                          <p:spTgt spid="97"/>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9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wipe(up)">
                                      <p:cBhvr>
                                        <p:cTn id="48" dur="500"/>
                                        <p:tgtEl>
                                          <p:spTgt spid="3"/>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99"/>
                                        </p:tgtEl>
                                        <p:attrNameLst>
                                          <p:attrName>style.visibility</p:attrName>
                                        </p:attrNameLst>
                                      </p:cBhvr>
                                      <p:to>
                                        <p:strVal val="visible"/>
                                      </p:to>
                                    </p:set>
                                    <p:animEffect transition="in" filter="wipe(down)">
                                      <p:cBhvr>
                                        <p:cTn id="53" dur="500"/>
                                        <p:tgtEl>
                                          <p:spTgt spid="9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left)">
                                      <p:cBhvr>
                                        <p:cTn id="58" dur="500"/>
                                        <p:tgtEl>
                                          <p:spTgt spid="72"/>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wipe(left)">
                                      <p:cBhvr>
                                        <p:cTn id="63" dur="500"/>
                                        <p:tgtEl>
                                          <p:spTgt spid="1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76"/>
                                        </p:tgtEl>
                                        <p:attrNameLst>
                                          <p:attrName>style.visibility</p:attrName>
                                        </p:attrNameLst>
                                      </p:cBhvr>
                                      <p:to>
                                        <p:strVal val="visible"/>
                                      </p:to>
                                    </p:set>
                                    <p:animEffect transition="in" filter="wipe(left)">
                                      <p:cBhvr>
                                        <p:cTn id="68" dur="500"/>
                                        <p:tgtEl>
                                          <p:spTgt spid="76"/>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101"/>
                                        </p:tgtEl>
                                        <p:attrNameLst>
                                          <p:attrName>style.visibility</p:attrName>
                                        </p:attrNameLst>
                                      </p:cBhvr>
                                      <p:to>
                                        <p:strVal val="visible"/>
                                      </p:to>
                                    </p:set>
                                    <p:animEffect transition="in" filter="wipe(left)">
                                      <p:cBhvr>
                                        <p:cTn id="73" dur="500"/>
                                        <p:tgtEl>
                                          <p:spTgt spid="101"/>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xit" presetSubtype="0" fill="hold" nodeType="clickEffect">
                                  <p:stCondLst>
                                    <p:cond delay="0"/>
                                  </p:stCondLst>
                                  <p:childTnLst>
                                    <p:set>
                                      <p:cBhvr>
                                        <p:cTn id="77" dur="1" fill="hold">
                                          <p:stCondLst>
                                            <p:cond delay="0"/>
                                          </p:stCondLst>
                                        </p:cTn>
                                        <p:tgtEl>
                                          <p:spTgt spid="9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5" grpId="0"/>
      <p:bldP spid="20" grpId="0"/>
      <p:bldP spid="76" grpId="0" animBg="1"/>
      <p:bldP spid="19" grpId="0" animBg="1"/>
      <p:bldP spid="12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892486" y="8744580"/>
            <a:ext cx="11729820" cy="519288"/>
          </a:xfrm>
        </p:spPr>
        <p:txBody>
          <a:bodyPr/>
          <a:lstStyle/>
          <a:p>
            <a:r>
              <a:rPr lang="en-US" sz="1200">
                <a:latin typeface="+mn-lt"/>
              </a:rPr>
              <a:t>©2017 Employee Performance Solutions, LLC  All Rights Reserved v12-17  www.EmployeePerformanceSolutions.com  </a:t>
            </a:r>
          </a:p>
          <a:p>
            <a:fld id="{E38D2AB5-5CBE-48A7-A686-F2E4C4661931}" type="slidenum">
              <a:rPr lang="en-US" sz="1400" smtClean="0">
                <a:latin typeface="+mn-lt"/>
              </a:rPr>
              <a:pPr/>
              <a:t>16</a:t>
            </a:fld>
            <a:endParaRPr lang="en-US" sz="1400" dirty="0">
              <a:latin typeface="+mn-lt"/>
            </a:endParaRPr>
          </a:p>
        </p:txBody>
      </p:sp>
      <p:grpSp>
        <p:nvGrpSpPr>
          <p:cNvPr id="4" name="Group 54"/>
          <p:cNvGrpSpPr/>
          <p:nvPr/>
        </p:nvGrpSpPr>
        <p:grpSpPr>
          <a:xfrm>
            <a:off x="0" y="1066800"/>
            <a:ext cx="13208001" cy="8686801"/>
            <a:chOff x="-1447800" y="4484914"/>
            <a:chExt cx="7119938" cy="4963886"/>
          </a:xfrm>
        </p:grpSpPr>
        <p:sp>
          <p:nvSpPr>
            <p:cNvPr id="54" name="Rectangle 53"/>
            <p:cNvSpPr/>
            <p:nvPr/>
          </p:nvSpPr>
          <p:spPr>
            <a:xfrm>
              <a:off x="-1447800" y="4484914"/>
              <a:ext cx="7010400" cy="4963886"/>
            </a:xfrm>
            <a:prstGeom prst="rect">
              <a:avLst/>
            </a:prstGeom>
            <a:gradFill>
              <a:gsLst>
                <a:gs pos="0">
                  <a:srgbClr val="92D050"/>
                </a:gs>
                <a:gs pos="49000">
                  <a:srgbClr val="92D050"/>
                </a:gs>
                <a:gs pos="68000">
                  <a:srgbClr val="33CCC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sp>
          <p:nvSpPr>
            <p:cNvPr id="18" name="Text Box 10"/>
            <p:cNvSpPr txBox="1">
              <a:spLocks noChangeArrowheads="1"/>
            </p:cNvSpPr>
            <p:nvPr/>
          </p:nvSpPr>
          <p:spPr bwMode="auto">
            <a:xfrm>
              <a:off x="-667345" y="4845465"/>
              <a:ext cx="6339483" cy="4205039"/>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514350" lvl="0" indent="-514350" algn="l">
                <a:buFont typeface="+mj-lt"/>
                <a:buAutoNum type="arabicPeriod"/>
              </a:pPr>
              <a:r>
                <a:rPr lang="en-US" sz="3200" b="1" dirty="0">
                  <a:solidFill>
                    <a:schemeClr val="tx1">
                      <a:lumMod val="75000"/>
                      <a:lumOff val="25000"/>
                    </a:schemeClr>
                  </a:solidFill>
                  <a:latin typeface="+mn-lt"/>
                  <a:cs typeface="Arial" pitchFamily="34" charset="0"/>
                </a:rPr>
                <a:t>Communicates in ways that positively influence others</a:t>
              </a:r>
            </a:p>
            <a:p>
              <a:pPr marL="514350" lvl="0" indent="-514350" algn="l">
                <a:buFont typeface="+mj-lt"/>
                <a:buAutoNum type="arabicPeriod"/>
              </a:pPr>
              <a:r>
                <a:rPr lang="en-US" sz="3200" b="1" dirty="0">
                  <a:solidFill>
                    <a:schemeClr val="tx1">
                      <a:lumMod val="75000"/>
                      <a:lumOff val="25000"/>
                    </a:schemeClr>
                  </a:solidFill>
                  <a:latin typeface="+mn-lt"/>
                  <a:cs typeface="Arial" pitchFamily="34" charset="0"/>
                </a:rPr>
                <a:t>Collaborates effectively at all levels</a:t>
              </a:r>
            </a:p>
            <a:p>
              <a:pPr marL="514350" lvl="0" indent="-514350" algn="l">
                <a:buFont typeface="+mj-lt"/>
                <a:buAutoNum type="arabicPeriod"/>
              </a:pPr>
              <a:r>
                <a:rPr lang="en-US" sz="3200" b="1" dirty="0">
                  <a:solidFill>
                    <a:schemeClr val="tx1">
                      <a:lumMod val="75000"/>
                      <a:lumOff val="25000"/>
                    </a:schemeClr>
                  </a:solidFill>
                  <a:latin typeface="+mn-lt"/>
                  <a:cs typeface="Arial" pitchFamily="34" charset="0"/>
                </a:rPr>
                <a:t>Makes choices to behave in ways that align with organizational values  </a:t>
              </a:r>
            </a:p>
            <a:p>
              <a:pPr marL="514350" lvl="0" indent="-514350" algn="l">
                <a:buFont typeface="+mj-lt"/>
                <a:buAutoNum type="arabicPeriod"/>
              </a:pPr>
              <a:r>
                <a:rPr lang="en-US" sz="3200" b="1" dirty="0">
                  <a:solidFill>
                    <a:schemeClr val="tx1">
                      <a:lumMod val="75000"/>
                      <a:lumOff val="25000"/>
                    </a:schemeClr>
                  </a:solidFill>
                  <a:latin typeface="+mn-lt"/>
                  <a:cs typeface="Arial" pitchFamily="34" charset="0"/>
                </a:rPr>
                <a:t>Known for being approachable and supportive of others</a:t>
              </a:r>
            </a:p>
            <a:p>
              <a:pPr marL="514350" lvl="0" indent="-514350" algn="l">
                <a:buFont typeface="+mj-lt"/>
                <a:buAutoNum type="arabicPeriod"/>
              </a:pPr>
              <a:r>
                <a:rPr lang="en-US" sz="3200" b="1" dirty="0">
                  <a:solidFill>
                    <a:schemeClr val="tx1">
                      <a:lumMod val="75000"/>
                      <a:lumOff val="25000"/>
                    </a:schemeClr>
                  </a:solidFill>
                  <a:latin typeface="+mn-lt"/>
                  <a:cs typeface="Arial" pitchFamily="34" charset="0"/>
                </a:rPr>
                <a:t>Self-motivated, and works with little direction</a:t>
              </a:r>
            </a:p>
            <a:p>
              <a:pPr lvl="0" algn="l"/>
              <a:endParaRPr lang="en-US" sz="3600" b="1" dirty="0">
                <a:solidFill>
                  <a:schemeClr val="tx1">
                    <a:lumMod val="75000"/>
                    <a:lumOff val="25000"/>
                  </a:schemeClr>
                </a:solidFill>
                <a:latin typeface="+mn-lt"/>
                <a:cs typeface="Arial" pitchFamily="34" charset="0"/>
              </a:endParaRPr>
            </a:p>
            <a:p>
              <a:pPr lvl="0" algn="l"/>
              <a:endParaRPr lang="en-US" sz="2800" b="1" dirty="0">
                <a:solidFill>
                  <a:schemeClr val="tx1">
                    <a:lumMod val="75000"/>
                    <a:lumOff val="25000"/>
                  </a:schemeClr>
                </a:solidFill>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3200" b="1" dirty="0">
                <a:solidFill>
                  <a:schemeClr val="tx1">
                    <a:lumMod val="75000"/>
                    <a:lumOff val="25000"/>
                  </a:schemeClr>
                </a:solidFill>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200" b="1" i="0" u="none" strike="noStrike" cap="none" normalizeH="0" baseline="0" dirty="0">
                <a:ln>
                  <a:noFill/>
                </a:ln>
                <a:solidFill>
                  <a:schemeClr val="tx1">
                    <a:lumMod val="75000"/>
                    <a:lumOff val="25000"/>
                  </a:schemeClr>
                </a:solidFill>
                <a:effectLst/>
                <a:latin typeface="+mn-lt"/>
                <a:cs typeface="Arial" pitchFamily="34" charset="0"/>
              </a:endParaRPr>
            </a:p>
          </p:txBody>
        </p:sp>
      </p:grpSp>
      <p:sp>
        <p:nvSpPr>
          <p:cNvPr id="49" name="Rounded Rectangle 48"/>
          <p:cNvSpPr/>
          <p:nvPr/>
        </p:nvSpPr>
        <p:spPr>
          <a:xfrm>
            <a:off x="0" y="304800"/>
            <a:ext cx="13004800" cy="6858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defTabSz="914400" fontAlgn="base">
              <a:spcBef>
                <a:spcPct val="0"/>
              </a:spcBef>
              <a:spcAft>
                <a:spcPct val="0"/>
              </a:spcAft>
            </a:pPr>
            <a:r>
              <a:rPr lang="en-US" sz="4000" b="1" dirty="0">
                <a:solidFill>
                  <a:schemeClr val="tx1">
                    <a:lumMod val="65000"/>
                    <a:lumOff val="35000"/>
                  </a:schemeClr>
                </a:solidFill>
                <a:latin typeface="Leelawadee" pitchFamily="34" charset="-34"/>
                <a:cs typeface="Leelawadee" pitchFamily="34" charset="-34"/>
              </a:rPr>
              <a:t>Guidelines </a:t>
            </a:r>
            <a:r>
              <a:rPr lang="en-US" sz="4000" dirty="0">
                <a:solidFill>
                  <a:schemeClr val="tx1">
                    <a:lumMod val="65000"/>
                    <a:lumOff val="35000"/>
                  </a:schemeClr>
                </a:solidFill>
                <a:latin typeface="Leelawadee" pitchFamily="34" charset="-34"/>
                <a:cs typeface="Leelawadee" pitchFamily="34" charset="-34"/>
              </a:rPr>
              <a:t>for On and Off-Target Observed Behaviors</a:t>
            </a:r>
          </a:p>
        </p:txBody>
      </p:sp>
      <p:sp>
        <p:nvSpPr>
          <p:cNvPr id="56" name="Right Arrow 55"/>
          <p:cNvSpPr/>
          <p:nvPr/>
        </p:nvSpPr>
        <p:spPr>
          <a:xfrm rot="16200000">
            <a:off x="-3349811" y="4416613"/>
            <a:ext cx="8229600" cy="1529976"/>
          </a:xfrm>
          <a:prstGeom prst="rightArrow">
            <a:avLst/>
          </a:prstGeom>
          <a:gradFill flip="none" rotWithShape="1">
            <a:gsLst>
              <a:gs pos="0">
                <a:srgbClr val="92D050"/>
              </a:gs>
              <a:gs pos="49000">
                <a:srgbClr val="92D050"/>
              </a:gs>
              <a:gs pos="68000">
                <a:srgbClr val="33CCCC"/>
              </a:gs>
            </a:gsLst>
            <a:path path="circle">
              <a:fillToRect l="100000" t="100000"/>
            </a:path>
            <a:tileRect r="-100000" b="-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sp>
        <p:nvSpPr>
          <p:cNvPr id="57" name="TextBox 56"/>
          <p:cNvSpPr txBox="1"/>
          <p:nvPr/>
        </p:nvSpPr>
        <p:spPr>
          <a:xfrm rot="16200000">
            <a:off x="-715529" y="3377153"/>
            <a:ext cx="2981038" cy="646331"/>
          </a:xfrm>
          <a:prstGeom prst="rect">
            <a:avLst/>
          </a:prstGeom>
          <a:noFill/>
        </p:spPr>
        <p:txBody>
          <a:bodyPr wrap="square" rtlCol="0">
            <a:spAutoFit/>
          </a:bodyPr>
          <a:lstStyle/>
          <a:p>
            <a:r>
              <a:rPr lang="en-US" sz="3600" b="1" dirty="0">
                <a:solidFill>
                  <a:schemeClr val="bg1"/>
                </a:solidFill>
                <a:latin typeface="+mn-lt"/>
              </a:rPr>
              <a:t>ON-TARGET</a:t>
            </a:r>
          </a:p>
        </p:txBody>
      </p:sp>
      <p:sp>
        <p:nvSpPr>
          <p:cNvPr id="58" name="TextBox 57"/>
          <p:cNvSpPr txBox="1"/>
          <p:nvPr/>
        </p:nvSpPr>
        <p:spPr>
          <a:xfrm rot="16200000">
            <a:off x="-632037" y="7134439"/>
            <a:ext cx="2937163" cy="707886"/>
          </a:xfrm>
          <a:prstGeom prst="rect">
            <a:avLst/>
          </a:prstGeom>
          <a:noFill/>
        </p:spPr>
        <p:txBody>
          <a:bodyPr wrap="square" rtlCol="0">
            <a:spAutoFit/>
          </a:bodyPr>
          <a:lstStyle/>
          <a:p>
            <a:r>
              <a:rPr lang="en-US" sz="4000" b="1" dirty="0">
                <a:solidFill>
                  <a:schemeClr val="bg1"/>
                </a:solidFill>
                <a:latin typeface="+mn-lt"/>
              </a:rPr>
              <a:t>OFF-TARGET</a:t>
            </a:r>
          </a:p>
        </p:txBody>
      </p:sp>
      <p:cxnSp>
        <p:nvCxnSpPr>
          <p:cNvPr id="60" name="Straight Connector 59"/>
          <p:cNvCxnSpPr/>
          <p:nvPr/>
        </p:nvCxnSpPr>
        <p:spPr>
          <a:xfrm>
            <a:off x="1177863" y="5105400"/>
            <a:ext cx="105823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168400" y="5985570"/>
            <a:ext cx="11531600" cy="3539430"/>
          </a:xfrm>
          <a:prstGeom prst="rect">
            <a:avLst/>
          </a:prstGeom>
        </p:spPr>
        <p:txBody>
          <a:bodyPr wrap="square">
            <a:spAutoFit/>
          </a:bodyPr>
          <a:lstStyle/>
          <a:p>
            <a:pPr marL="514350" lvl="0" indent="-514350" algn="l">
              <a:buFont typeface="+mj-lt"/>
              <a:buAutoNum type="arabicPeriod"/>
            </a:pPr>
            <a:r>
              <a:rPr lang="en-US" sz="3200" b="1" dirty="0">
                <a:solidFill>
                  <a:schemeClr val="tx1">
                    <a:lumMod val="75000"/>
                    <a:lumOff val="25000"/>
                  </a:schemeClr>
                </a:solidFill>
                <a:latin typeface="+mj-lt"/>
                <a:cs typeface="Arial" pitchFamily="34" charset="0"/>
              </a:rPr>
              <a:t>Demonstrates observable and unexpected behavior that detracts from performance contributions and reflects poorly on the individual</a:t>
            </a:r>
          </a:p>
          <a:p>
            <a:pPr marL="514350" lvl="0" indent="-514350" algn="l">
              <a:buFont typeface="+mj-lt"/>
              <a:buAutoNum type="arabicPeriod"/>
            </a:pPr>
            <a:r>
              <a:rPr lang="en-US" sz="3200" b="1" dirty="0">
                <a:solidFill>
                  <a:schemeClr val="tx1">
                    <a:lumMod val="75000"/>
                    <a:lumOff val="25000"/>
                  </a:schemeClr>
                </a:solidFill>
                <a:latin typeface="+mj-lt"/>
                <a:cs typeface="Arial" pitchFamily="34" charset="0"/>
              </a:rPr>
              <a:t>Behavior can lead to disruption, deplete the time and energy of others, create extra work for the manager, divert time and attention away from work, weaken team effectiveness, impair cooperation, slow progress and information flow  </a:t>
            </a:r>
            <a:endParaRPr lang="en-US" sz="5400" b="1" dirty="0">
              <a:solidFill>
                <a:schemeClr val="tx1">
                  <a:lumMod val="75000"/>
                  <a:lumOff val="25000"/>
                </a:schemeClr>
              </a:solidFill>
              <a:latin typeface="+mj-lt"/>
              <a:cs typeface="Arial" pitchFamily="34" charset="0"/>
            </a:endParaRPr>
          </a:p>
        </p:txBody>
      </p:sp>
      <p:grpSp>
        <p:nvGrpSpPr>
          <p:cNvPr id="12" name="Group 11">
            <a:extLst>
              <a:ext uri="{FF2B5EF4-FFF2-40B4-BE49-F238E27FC236}">
                <a16:creationId xmlns:a16="http://schemas.microsoft.com/office/drawing/2014/main" id="{884CACB0-F6CE-442F-8417-CB60F89CB39C}"/>
              </a:ext>
            </a:extLst>
          </p:cNvPr>
          <p:cNvGrpSpPr/>
          <p:nvPr/>
        </p:nvGrpSpPr>
        <p:grpSpPr>
          <a:xfrm>
            <a:off x="10720328" y="9001780"/>
            <a:ext cx="1852668" cy="609600"/>
            <a:chOff x="11613497" y="7086600"/>
            <a:chExt cx="807103" cy="609600"/>
          </a:xfrm>
        </p:grpSpPr>
        <p:pic>
          <p:nvPicPr>
            <p:cNvPr id="13" name="Picture 2">
              <a:extLst>
                <a:ext uri="{FF2B5EF4-FFF2-40B4-BE49-F238E27FC236}">
                  <a16:creationId xmlns:a16="http://schemas.microsoft.com/office/drawing/2014/main" id="{3692FD00-AEF6-43C4-887C-ACF9B4B919C9}"/>
                </a:ext>
              </a:extLst>
            </p:cNvPr>
            <p:cNvPicPr>
              <a:picLocks noChangeAspect="1" noChangeArrowheads="1"/>
            </p:cNvPicPr>
            <p:nvPr/>
          </p:nvPicPr>
          <p:blipFill>
            <a:blip r:embed="rId3"/>
            <a:srcRect/>
            <a:stretch>
              <a:fillRect/>
            </a:stretch>
          </p:blipFill>
          <p:spPr bwMode="auto">
            <a:xfrm>
              <a:off x="11613497" y="7086600"/>
              <a:ext cx="807103"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4" name="TextBox 13">
              <a:extLst>
                <a:ext uri="{FF2B5EF4-FFF2-40B4-BE49-F238E27FC236}">
                  <a16:creationId xmlns:a16="http://schemas.microsoft.com/office/drawing/2014/main" id="{13DFAABA-62A1-4C9F-A150-54D1DC495DFD}"/>
                </a:ext>
              </a:extLst>
            </p:cNvPr>
            <p:cNvSpPr txBox="1"/>
            <p:nvPr/>
          </p:nvSpPr>
          <p:spPr>
            <a:xfrm>
              <a:off x="11613497" y="7152620"/>
              <a:ext cx="680103"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10 </a:t>
              </a:r>
            </a:p>
          </p:txBody>
        </p:sp>
      </p:grpSp>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4294967295"/>
          </p:nvPr>
        </p:nvSpPr>
        <p:spPr>
          <a:xfrm>
            <a:off x="892486" y="8744580"/>
            <a:ext cx="11729820" cy="519288"/>
          </a:xfrm>
        </p:spPr>
        <p:txBody>
          <a:bodyPr/>
          <a:lstStyle/>
          <a:p>
            <a:r>
              <a:rPr lang="en-US" sz="1200">
                <a:latin typeface="+mn-lt"/>
              </a:rPr>
              <a:t>©2017 Employee Performance Solutions, LLC  All Rights Reserved v12-17  www.EmployeePerformanceSolutions.com  </a:t>
            </a:r>
          </a:p>
          <a:p>
            <a:fld id="{E38D2AB5-5CBE-48A7-A686-F2E4C4661931}" type="slidenum">
              <a:rPr lang="en-US" sz="1400" smtClean="0">
                <a:latin typeface="+mn-lt"/>
              </a:rPr>
              <a:pPr/>
              <a:t>17</a:t>
            </a:fld>
            <a:endParaRPr lang="en-US" sz="1400" dirty="0">
              <a:latin typeface="+mn-lt"/>
            </a:endParaRPr>
          </a:p>
        </p:txBody>
      </p:sp>
      <p:grpSp>
        <p:nvGrpSpPr>
          <p:cNvPr id="2" name="Group 54"/>
          <p:cNvGrpSpPr/>
          <p:nvPr/>
        </p:nvGrpSpPr>
        <p:grpSpPr>
          <a:xfrm>
            <a:off x="0" y="1219200"/>
            <a:ext cx="13004800" cy="8153400"/>
            <a:chOff x="-1447800" y="4572000"/>
            <a:chExt cx="7010400" cy="4876800"/>
          </a:xfrm>
        </p:grpSpPr>
        <p:sp>
          <p:nvSpPr>
            <p:cNvPr id="54" name="Rectangle 53"/>
            <p:cNvSpPr/>
            <p:nvPr/>
          </p:nvSpPr>
          <p:spPr>
            <a:xfrm>
              <a:off x="-1447800" y="4572000"/>
              <a:ext cx="7010400" cy="4876800"/>
            </a:xfrm>
            <a:prstGeom prst="rect">
              <a:avLst/>
            </a:prstGeom>
            <a:gradFill>
              <a:gsLst>
                <a:gs pos="0">
                  <a:srgbClr val="92D050"/>
                </a:gs>
                <a:gs pos="49000">
                  <a:srgbClr val="92D050"/>
                </a:gs>
                <a:gs pos="68000">
                  <a:srgbClr val="33CCC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sp>
          <p:nvSpPr>
            <p:cNvPr id="18" name="Text Box 10"/>
            <p:cNvSpPr txBox="1">
              <a:spLocks noChangeArrowheads="1"/>
            </p:cNvSpPr>
            <p:nvPr/>
          </p:nvSpPr>
          <p:spPr bwMode="auto">
            <a:xfrm>
              <a:off x="-776883" y="4845465"/>
              <a:ext cx="6339483" cy="4205039"/>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200" b="1" i="0" u="none" strike="noStrike" cap="none" normalizeH="0" baseline="0" dirty="0">
                <a:ln>
                  <a:noFill/>
                </a:ln>
                <a:solidFill>
                  <a:schemeClr val="bg1"/>
                </a:solidFill>
                <a:effectLst/>
                <a:latin typeface="+mn-lt"/>
                <a:cs typeface="Arial" pitchFamily="34" charset="0"/>
              </a:endParaRP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lang="en-US" sz="3600" b="1" dirty="0">
                  <a:solidFill>
                    <a:schemeClr val="tx1">
                      <a:lumMod val="75000"/>
                      <a:lumOff val="25000"/>
                    </a:schemeClr>
                  </a:solidFill>
                  <a:latin typeface="+mn-lt"/>
                  <a:cs typeface="Arial" pitchFamily="34" charset="0"/>
                </a:rPr>
                <a:t>Accelerates and enhances t</a:t>
              </a:r>
              <a:r>
                <a:rPr kumimoji="0" lang="en-US" sz="3600" b="1" i="0" u="none" strike="noStrike" cap="none" normalizeH="0" baseline="0" dirty="0">
                  <a:ln>
                    <a:noFill/>
                  </a:ln>
                  <a:solidFill>
                    <a:schemeClr val="tx1">
                      <a:lumMod val="75000"/>
                      <a:lumOff val="25000"/>
                    </a:schemeClr>
                  </a:solidFill>
                  <a:effectLst/>
                  <a:latin typeface="+mn-lt"/>
                  <a:cs typeface="Arial" pitchFamily="34" charset="0"/>
                </a:rPr>
                <a:t>eam results</a:t>
              </a: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kumimoji="0" lang="en-US" sz="3600" b="1" i="0" u="none" strike="noStrike" cap="none" normalizeH="0" baseline="0" dirty="0">
                  <a:ln>
                    <a:noFill/>
                  </a:ln>
                  <a:solidFill>
                    <a:schemeClr val="tx1">
                      <a:lumMod val="75000"/>
                      <a:lumOff val="25000"/>
                    </a:schemeClr>
                  </a:solidFill>
                  <a:effectLst/>
                  <a:latin typeface="+mn-lt"/>
                  <a:cs typeface="Arial" pitchFamily="34" charset="0"/>
                </a:rPr>
                <a:t>Seen as a contributor who “gets things done”</a:t>
              </a: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kumimoji="0" lang="en-US" sz="3600" b="1" i="0" u="none" strike="noStrike" cap="none" normalizeH="0" baseline="0" dirty="0">
                  <a:ln>
                    <a:noFill/>
                  </a:ln>
                  <a:solidFill>
                    <a:schemeClr val="tx1">
                      <a:lumMod val="75000"/>
                      <a:lumOff val="25000"/>
                    </a:schemeClr>
                  </a:solidFill>
                  <a:effectLst/>
                  <a:latin typeface="+mn-lt"/>
                  <a:cs typeface="Arial" pitchFamily="34" charset="0"/>
                </a:rPr>
                <a:t>Consistent delivery of job</a:t>
              </a:r>
              <a:r>
                <a:rPr kumimoji="0" lang="en-US" sz="3600" b="1" i="0" u="none" strike="noStrike" cap="none" normalizeH="0" dirty="0">
                  <a:ln>
                    <a:noFill/>
                  </a:ln>
                  <a:solidFill>
                    <a:schemeClr val="tx1">
                      <a:lumMod val="75000"/>
                      <a:lumOff val="25000"/>
                    </a:schemeClr>
                  </a:solidFill>
                  <a:effectLst/>
                  <a:latin typeface="+mn-lt"/>
                  <a:cs typeface="Arial" pitchFamily="34" charset="0"/>
                </a:rPr>
                <a:t> </a:t>
              </a:r>
              <a:r>
                <a:rPr kumimoji="0" lang="en-US" sz="3600" b="1" i="0" u="none" strike="noStrike" cap="none" normalizeH="0" baseline="0" dirty="0">
                  <a:ln>
                    <a:noFill/>
                  </a:ln>
                  <a:solidFill>
                    <a:schemeClr val="tx1">
                      <a:lumMod val="75000"/>
                      <a:lumOff val="25000"/>
                    </a:schemeClr>
                  </a:solidFill>
                  <a:effectLst/>
                  <a:latin typeface="+mn-lt"/>
                  <a:cs typeface="Arial" pitchFamily="34" charset="0"/>
                </a:rPr>
                <a:t>responsibilities and goals</a:t>
              </a: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kumimoji="0" lang="en-US" sz="3600" b="1" i="0" u="none" strike="noStrike" cap="none" normalizeH="0" baseline="0" dirty="0">
                  <a:ln>
                    <a:noFill/>
                  </a:ln>
                  <a:solidFill>
                    <a:schemeClr val="tx1">
                      <a:lumMod val="75000"/>
                      <a:lumOff val="25000"/>
                    </a:schemeClr>
                  </a:solidFill>
                  <a:effectLst/>
                  <a:latin typeface="+mn-lt"/>
                  <a:cs typeface="Arial" pitchFamily="34" charset="0"/>
                </a:rPr>
                <a:t>New to the role and making expected progress</a:t>
              </a:r>
            </a:p>
            <a:p>
              <a:pPr marL="0" marR="0" lvl="0" indent="0" algn="l" defTabSz="914400" rtl="0" eaLnBrk="1" fontAlgn="base" latinLnBrk="0" hangingPunct="1">
                <a:lnSpc>
                  <a:spcPct val="100000"/>
                </a:lnSpc>
                <a:spcBef>
                  <a:spcPct val="0"/>
                </a:spcBef>
                <a:spcAft>
                  <a:spcPct val="0"/>
                </a:spcAft>
                <a:buClrTx/>
                <a:buSzTx/>
                <a:buFontTx/>
                <a:buNone/>
                <a:tabLst/>
              </a:pPr>
              <a:endParaRPr lang="en-US" sz="2000" b="1" dirty="0">
                <a:solidFill>
                  <a:schemeClr val="bg1"/>
                </a:solidFill>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000" b="1" dirty="0">
                <a:solidFill>
                  <a:schemeClr val="bg1"/>
                </a:solidFill>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bg1"/>
                </a:solidFill>
                <a:effectLst/>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lang="en-US" sz="2800" b="1" dirty="0">
                <a:solidFill>
                  <a:schemeClr val="bg1"/>
                </a:solidFill>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bg1"/>
                </a:solidFill>
                <a:effectLst/>
                <a:latin typeface="+mn-lt"/>
                <a:cs typeface="Arial" pitchFamily="34" charset="0"/>
              </a:endParaRP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kumimoji="0" lang="en-US" sz="3200" b="1" i="0" u="none" strike="noStrike" cap="none" normalizeH="0" baseline="0" dirty="0">
                  <a:ln>
                    <a:noFill/>
                  </a:ln>
                  <a:solidFill>
                    <a:schemeClr val="tx1">
                      <a:lumMod val="75000"/>
                      <a:lumOff val="25000"/>
                    </a:schemeClr>
                  </a:solidFill>
                  <a:effectLst/>
                  <a:latin typeface="+mn-lt"/>
                  <a:cs typeface="Arial" pitchFamily="34" charset="0"/>
                </a:rPr>
                <a:t>Despite making an earnest effort, meets some, but not all goals and job</a:t>
              </a:r>
              <a:r>
                <a:rPr kumimoji="0" lang="en-US" sz="3200" b="1" i="0" u="none" strike="noStrike" cap="none" normalizeH="0" dirty="0">
                  <a:ln>
                    <a:noFill/>
                  </a:ln>
                  <a:solidFill>
                    <a:schemeClr val="tx1">
                      <a:lumMod val="75000"/>
                      <a:lumOff val="25000"/>
                    </a:schemeClr>
                  </a:solidFill>
                  <a:effectLst/>
                  <a:latin typeface="+mn-lt"/>
                  <a:cs typeface="Arial" pitchFamily="34" charset="0"/>
                </a:rPr>
                <a:t> </a:t>
              </a:r>
              <a:r>
                <a:rPr kumimoji="0" lang="en-US" sz="3200" b="1" i="0" u="none" strike="noStrike" cap="none" normalizeH="0" baseline="0" dirty="0">
                  <a:ln>
                    <a:noFill/>
                  </a:ln>
                  <a:solidFill>
                    <a:schemeClr val="tx1">
                      <a:lumMod val="75000"/>
                      <a:lumOff val="25000"/>
                    </a:schemeClr>
                  </a:solidFill>
                  <a:effectLst/>
                  <a:latin typeface="+mn-lt"/>
                  <a:cs typeface="Arial" pitchFamily="34" charset="0"/>
                </a:rPr>
                <a:t>responsibilities</a:t>
              </a: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endParaRPr lang="en-US" sz="3200" b="1" dirty="0">
                <a:solidFill>
                  <a:schemeClr val="tx1">
                    <a:lumMod val="75000"/>
                    <a:lumOff val="25000"/>
                  </a:schemeClr>
                </a:solidFill>
                <a:latin typeface="+mn-lt"/>
                <a:cs typeface="Arial" pitchFamily="34" charset="0"/>
              </a:endParaRPr>
            </a:p>
            <a:p>
              <a:pPr marL="514350" marR="0" lvl="0" indent="-514350" algn="l" defTabSz="914400" rtl="0" eaLnBrk="1" fontAlgn="base" latinLnBrk="0" hangingPunct="1">
                <a:lnSpc>
                  <a:spcPct val="100000"/>
                </a:lnSpc>
                <a:spcBef>
                  <a:spcPct val="0"/>
                </a:spcBef>
                <a:spcAft>
                  <a:spcPct val="0"/>
                </a:spcAft>
                <a:buClrTx/>
                <a:buSzTx/>
                <a:buFont typeface="+mj-lt"/>
                <a:buAutoNum type="arabicPeriod"/>
                <a:tabLst/>
              </a:pPr>
              <a:r>
                <a:rPr kumimoji="0" lang="en-US" sz="3200" b="1" i="0" u="none" strike="noStrike" cap="none" normalizeH="0" baseline="0" dirty="0">
                  <a:ln>
                    <a:noFill/>
                  </a:ln>
                  <a:solidFill>
                    <a:schemeClr val="tx1">
                      <a:lumMod val="75000"/>
                      <a:lumOff val="25000"/>
                    </a:schemeClr>
                  </a:solidFill>
                  <a:effectLst/>
                  <a:latin typeface="+mn-lt"/>
                  <a:cs typeface="Arial" pitchFamily="34" charset="0"/>
                </a:rPr>
                <a:t>Has the ability to accomplish the work, but is not making a full or consistent effort</a:t>
              </a:r>
            </a:p>
          </p:txBody>
        </p:sp>
      </p:grpSp>
      <p:sp>
        <p:nvSpPr>
          <p:cNvPr id="49" name="Rounded Rectangle 48"/>
          <p:cNvSpPr/>
          <p:nvPr/>
        </p:nvSpPr>
        <p:spPr>
          <a:xfrm>
            <a:off x="0" y="457200"/>
            <a:ext cx="13004800" cy="6858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fontAlgn="base">
              <a:spcBef>
                <a:spcPct val="0"/>
              </a:spcBef>
              <a:spcAft>
                <a:spcPct val="0"/>
              </a:spcAft>
            </a:pPr>
            <a:r>
              <a:rPr lang="en-US" sz="4800" b="1" dirty="0">
                <a:solidFill>
                  <a:schemeClr val="tx1">
                    <a:lumMod val="65000"/>
                    <a:lumOff val="35000"/>
                  </a:schemeClr>
                </a:solidFill>
                <a:latin typeface="Leelawadee" pitchFamily="34" charset="-34"/>
                <a:cs typeface="Leelawadee" pitchFamily="34" charset="-34"/>
              </a:rPr>
              <a:t>Guidelines </a:t>
            </a:r>
            <a:r>
              <a:rPr lang="en-US" sz="4800" dirty="0">
                <a:solidFill>
                  <a:schemeClr val="tx1">
                    <a:lumMod val="65000"/>
                    <a:lumOff val="35000"/>
                  </a:schemeClr>
                </a:solidFill>
                <a:latin typeface="Leelawadee" pitchFamily="34" charset="-34"/>
                <a:cs typeface="Leelawadee" pitchFamily="34" charset="-34"/>
              </a:rPr>
              <a:t>for On and Off-Target Work Results</a:t>
            </a:r>
          </a:p>
        </p:txBody>
      </p:sp>
      <p:sp>
        <p:nvSpPr>
          <p:cNvPr id="56" name="Right Arrow 55"/>
          <p:cNvSpPr/>
          <p:nvPr/>
        </p:nvSpPr>
        <p:spPr>
          <a:xfrm rot="16200000">
            <a:off x="-3349811" y="4416613"/>
            <a:ext cx="8229600" cy="1529976"/>
          </a:xfrm>
          <a:prstGeom prst="rightArrow">
            <a:avLst/>
          </a:prstGeom>
          <a:gradFill flip="none" rotWithShape="1">
            <a:gsLst>
              <a:gs pos="0">
                <a:srgbClr val="92D050"/>
              </a:gs>
              <a:gs pos="49000">
                <a:srgbClr val="92D050"/>
              </a:gs>
              <a:gs pos="68000">
                <a:srgbClr val="33CCCC"/>
              </a:gs>
            </a:gsLst>
            <a:path path="circle">
              <a:fillToRect l="100000" t="100000"/>
            </a:path>
            <a:tileRect r="-100000" b="-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sp>
        <p:nvSpPr>
          <p:cNvPr id="57" name="TextBox 56"/>
          <p:cNvSpPr txBox="1"/>
          <p:nvPr/>
        </p:nvSpPr>
        <p:spPr>
          <a:xfrm rot="16200000">
            <a:off x="-715529" y="3377153"/>
            <a:ext cx="2981038" cy="646331"/>
          </a:xfrm>
          <a:prstGeom prst="rect">
            <a:avLst/>
          </a:prstGeom>
          <a:noFill/>
        </p:spPr>
        <p:txBody>
          <a:bodyPr wrap="square" rtlCol="0">
            <a:spAutoFit/>
          </a:bodyPr>
          <a:lstStyle/>
          <a:p>
            <a:r>
              <a:rPr lang="en-US" sz="3600" b="1" dirty="0">
                <a:solidFill>
                  <a:schemeClr val="bg1"/>
                </a:solidFill>
                <a:latin typeface="+mn-lt"/>
              </a:rPr>
              <a:t>ON-TARGET</a:t>
            </a:r>
          </a:p>
        </p:txBody>
      </p:sp>
      <p:sp>
        <p:nvSpPr>
          <p:cNvPr id="58" name="TextBox 57"/>
          <p:cNvSpPr txBox="1"/>
          <p:nvPr/>
        </p:nvSpPr>
        <p:spPr>
          <a:xfrm rot="16200000">
            <a:off x="-632037" y="7134439"/>
            <a:ext cx="2937163" cy="707886"/>
          </a:xfrm>
          <a:prstGeom prst="rect">
            <a:avLst/>
          </a:prstGeom>
          <a:noFill/>
        </p:spPr>
        <p:txBody>
          <a:bodyPr wrap="square" rtlCol="0">
            <a:spAutoFit/>
          </a:bodyPr>
          <a:lstStyle/>
          <a:p>
            <a:r>
              <a:rPr lang="en-US" sz="4000" b="1" dirty="0">
                <a:solidFill>
                  <a:schemeClr val="bg1"/>
                </a:solidFill>
                <a:latin typeface="+mn-lt"/>
              </a:rPr>
              <a:t>OFF-TARGET</a:t>
            </a:r>
          </a:p>
        </p:txBody>
      </p:sp>
      <p:cxnSp>
        <p:nvCxnSpPr>
          <p:cNvPr id="60" name="Straight Connector 59"/>
          <p:cNvCxnSpPr/>
          <p:nvPr/>
        </p:nvCxnSpPr>
        <p:spPr>
          <a:xfrm>
            <a:off x="1168400" y="5715000"/>
            <a:ext cx="105823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2">
            <a:extLst>
              <a:ext uri="{FF2B5EF4-FFF2-40B4-BE49-F238E27FC236}">
                <a16:creationId xmlns:a16="http://schemas.microsoft.com/office/drawing/2014/main" id="{E7DC9D6F-2BFD-4ECF-8313-FF5A067FE0FB}"/>
              </a:ext>
            </a:extLst>
          </p:cNvPr>
          <p:cNvPicPr>
            <a:picLocks noChangeAspect="1" noChangeArrowheads="1"/>
          </p:cNvPicPr>
          <p:nvPr/>
        </p:nvPicPr>
        <p:blipFill>
          <a:blip r:embed="rId3"/>
          <a:srcRect/>
          <a:stretch>
            <a:fillRect/>
          </a:stretch>
        </p:blipFill>
        <p:spPr bwMode="auto">
          <a:xfrm>
            <a:off x="10720328" y="9001780"/>
            <a:ext cx="1852668"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3" name="TextBox 12">
            <a:extLst>
              <a:ext uri="{FF2B5EF4-FFF2-40B4-BE49-F238E27FC236}">
                <a16:creationId xmlns:a16="http://schemas.microsoft.com/office/drawing/2014/main" id="{2A6AB947-E235-40DB-B977-48381D040A45}"/>
              </a:ext>
            </a:extLst>
          </p:cNvPr>
          <p:cNvSpPr txBox="1"/>
          <p:nvPr/>
        </p:nvSpPr>
        <p:spPr>
          <a:xfrm>
            <a:off x="10720328" y="9067800"/>
            <a:ext cx="1561145"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10 </a:t>
            </a:r>
          </a:p>
        </p:txBody>
      </p:sp>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9626600" y="8225135"/>
            <a:ext cx="1905000" cy="461665"/>
          </a:xfrm>
          <a:prstGeom prst="rect">
            <a:avLst/>
          </a:prstGeom>
          <a:solidFill>
            <a:schemeClr val="bg1"/>
          </a:solidFill>
        </p:spPr>
        <p:txBody>
          <a:bodyPr wrap="square" rtlCol="0">
            <a:spAutoFit/>
          </a:bodyPr>
          <a:lstStyle/>
          <a:p>
            <a:pPr algn="l"/>
            <a:r>
              <a:rPr lang="en-US" sz="2400" dirty="0">
                <a:latin typeface="Calibri" pitchFamily="34" charset="0"/>
              </a:rPr>
              <a:t>    </a:t>
            </a:r>
            <a:r>
              <a:rPr lang="en-US" sz="2400" b="1" dirty="0">
                <a:solidFill>
                  <a:srgbClr val="92D050"/>
                </a:solidFill>
                <a:latin typeface="Calibri" pitchFamily="34" charset="0"/>
              </a:rPr>
              <a:t>On-Target</a:t>
            </a:r>
            <a:r>
              <a:rPr lang="en-US" sz="1800" b="1" dirty="0">
                <a:solidFill>
                  <a:srgbClr val="92D050"/>
                </a:solidFill>
                <a:latin typeface="Calibri" pitchFamily="34" charset="0"/>
              </a:rPr>
              <a:t> </a:t>
            </a:r>
            <a:endParaRPr lang="en-US" sz="2800" b="1" dirty="0">
              <a:solidFill>
                <a:srgbClr val="92D050"/>
              </a:solidFill>
              <a:latin typeface="Calibri" pitchFamily="34" charset="0"/>
            </a:endParaRPr>
          </a:p>
        </p:txBody>
      </p:sp>
      <p:cxnSp>
        <p:nvCxnSpPr>
          <p:cNvPr id="6" name="Straight Connector 5"/>
          <p:cNvCxnSpPr>
            <a:stCxn id="4" idx="0"/>
            <a:endCxn id="4" idx="2"/>
          </p:cNvCxnSpPr>
          <p:nvPr/>
        </p:nvCxnSpPr>
        <p:spPr bwMode="auto">
          <a:xfrm>
            <a:off x="6429132" y="23622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1886466" y="6255604"/>
            <a:ext cx="2133600" cy="369332"/>
          </a:xfrm>
          <a:prstGeom prst="rect">
            <a:avLst/>
          </a:prstGeom>
          <a:noFill/>
        </p:spPr>
        <p:txBody>
          <a:bodyPr wrap="square" rtlCol="0">
            <a:spAutoFit/>
          </a:bodyPr>
          <a:lstStyle/>
          <a:p>
            <a:pPr algn="l"/>
            <a:r>
              <a:rPr lang="en-US" sz="1800" dirty="0">
                <a:latin typeface="Calibri" pitchFamily="34" charset="0"/>
              </a:rPr>
              <a:t>  </a:t>
            </a:r>
            <a:endParaRPr lang="en-US" sz="1800" b="1" dirty="0">
              <a:solidFill>
                <a:srgbClr val="009999"/>
              </a:solidFill>
              <a:latin typeface="Calibri" pitchFamily="34" charset="0"/>
            </a:endParaRPr>
          </a:p>
        </p:txBody>
      </p:sp>
      <p:sp>
        <p:nvSpPr>
          <p:cNvPr id="35" name="TextBox 34"/>
          <p:cNvSpPr txBox="1"/>
          <p:nvPr/>
        </p:nvSpPr>
        <p:spPr>
          <a:xfrm rot="16200000">
            <a:off x="1144476" y="5936748"/>
            <a:ext cx="3648361" cy="461665"/>
          </a:xfrm>
          <a:prstGeom prst="rect">
            <a:avLst/>
          </a:prstGeom>
          <a:noFill/>
        </p:spPr>
        <p:txBody>
          <a:bodyPr wrap="square" rtlCol="0">
            <a:spAutoFit/>
          </a:bodyPr>
          <a:lstStyle/>
          <a:p>
            <a:pPr algn="l"/>
            <a:r>
              <a:rPr lang="en-US" sz="2400" b="1" dirty="0">
                <a:solidFill>
                  <a:srgbClr val="336699"/>
                </a:solidFill>
                <a:latin typeface="Calibri" pitchFamily="34" charset="0"/>
              </a:rPr>
              <a:t>Grow</a:t>
            </a:r>
          </a:p>
        </p:txBody>
      </p:sp>
      <p:cxnSp>
        <p:nvCxnSpPr>
          <p:cNvPr id="28" name="Straight Connector 27"/>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2953266" y="5373470"/>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 name="Group 67"/>
          <p:cNvGrpSpPr/>
          <p:nvPr/>
        </p:nvGrpSpPr>
        <p:grpSpPr>
          <a:xfrm>
            <a:off x="863600" y="4572000"/>
            <a:ext cx="1752600" cy="10668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016000" y="3846493"/>
              <a:ext cx="1600200" cy="954107"/>
            </a:xfrm>
            <a:prstGeom prst="rect">
              <a:avLst/>
            </a:prstGeom>
            <a:noFill/>
            <a:ln>
              <a:noFill/>
            </a:ln>
          </p:spPr>
          <p:txBody>
            <a:bodyPr wrap="square" rtlCol="0">
              <a:spAutoFit/>
            </a:bodyPr>
            <a:lstStyle/>
            <a:p>
              <a:r>
                <a:rPr lang="en-US" sz="2800" dirty="0">
                  <a:latin typeface="Calibri" pitchFamily="34" charset="0"/>
                </a:rPr>
                <a:t> </a:t>
              </a:r>
              <a:r>
                <a:rPr lang="en-US" sz="2800" b="1" dirty="0">
                  <a:solidFill>
                    <a:schemeClr val="bg1"/>
                  </a:solidFill>
                  <a:latin typeface="Calibri" pitchFamily="34" charset="0"/>
                </a:rPr>
                <a:t>Work </a:t>
              </a:r>
              <a:br>
                <a:rPr lang="en-US" sz="2800" b="1" dirty="0">
                  <a:solidFill>
                    <a:schemeClr val="bg1"/>
                  </a:solidFill>
                  <a:latin typeface="Calibri" pitchFamily="34" charset="0"/>
                </a:rPr>
              </a:br>
              <a:r>
                <a:rPr lang="en-US" sz="2800" b="1" dirty="0">
                  <a:solidFill>
                    <a:schemeClr val="bg1"/>
                  </a:solidFill>
                  <a:latin typeface="Calibri" pitchFamily="34" charset="0"/>
                </a:rPr>
                <a:t>Results </a:t>
              </a:r>
            </a:p>
          </p:txBody>
        </p:sp>
      </p:grpSp>
      <p:sp>
        <p:nvSpPr>
          <p:cNvPr id="20" name="TextBox 19"/>
          <p:cNvSpPr txBox="1"/>
          <p:nvPr/>
        </p:nvSpPr>
        <p:spPr>
          <a:xfrm>
            <a:off x="279400" y="5715000"/>
            <a:ext cx="2717800" cy="1200329"/>
          </a:xfrm>
          <a:prstGeom prst="rect">
            <a:avLst/>
          </a:prstGeom>
          <a:noFill/>
        </p:spPr>
        <p:txBody>
          <a:bodyPr vert="horz" wrap="square" rtlCol="0" anchor="ctr" anchorCtr="1">
            <a:spAutoFit/>
          </a:bodyPr>
          <a:lstStyle/>
          <a:p>
            <a:pPr algn="l"/>
            <a:r>
              <a:rPr lang="en-US" sz="2400" dirty="0">
                <a:solidFill>
                  <a:srgbClr val="FF9900"/>
                </a:solidFill>
                <a:latin typeface="Calibri" pitchFamily="34" charset="0"/>
                <a:ea typeface="Adobe Fan Heiti Std B" pitchFamily="34" charset="-128"/>
              </a:rPr>
              <a:t>Job Responsibilities</a:t>
            </a:r>
          </a:p>
          <a:p>
            <a:pPr algn="l"/>
            <a:r>
              <a:rPr lang="en-US" sz="2400" dirty="0">
                <a:solidFill>
                  <a:srgbClr val="6EA92D"/>
                </a:solidFill>
                <a:latin typeface="Calibri" pitchFamily="34" charset="0"/>
                <a:ea typeface="Adobe Fan Heiti Std B" pitchFamily="34" charset="-128"/>
              </a:rPr>
              <a:t>Goals</a:t>
            </a:r>
          </a:p>
          <a:p>
            <a:pPr algn="l"/>
            <a:r>
              <a:rPr lang="en-US" sz="2400" dirty="0">
                <a:solidFill>
                  <a:srgbClr val="008C82"/>
                </a:solidFill>
                <a:latin typeface="Calibri" pitchFamily="34" charset="0"/>
                <a:ea typeface="Adobe Fan Heiti Std B" pitchFamily="34" charset="-128"/>
              </a:rPr>
              <a:t>Skills</a:t>
            </a:r>
          </a:p>
        </p:txBody>
      </p:sp>
      <p:sp>
        <p:nvSpPr>
          <p:cNvPr id="62" name="Title 3"/>
          <p:cNvSpPr>
            <a:spLocks noGrp="1"/>
          </p:cNvSpPr>
          <p:nvPr>
            <p:ph type="title"/>
          </p:nvPr>
        </p:nvSpPr>
        <p:spPr>
          <a:xfrm>
            <a:off x="650876" y="152400"/>
            <a:ext cx="11703050" cy="1819275"/>
          </a:xfrm>
        </p:spPr>
        <p:txBody>
          <a:bodyPr>
            <a:noAutofit/>
          </a:bodyPr>
          <a:lstStyle/>
          <a:p>
            <a:pPr>
              <a:spcBef>
                <a:spcPts val="1099"/>
              </a:spcBef>
            </a:pPr>
            <a:r>
              <a:rPr lang="en-US" sz="4400" b="1" dirty="0">
                <a:solidFill>
                  <a:srgbClr val="008C82"/>
                </a:solidFill>
                <a:latin typeface="Adobe Fan Heiti Std B" pitchFamily="34" charset="-128"/>
                <a:ea typeface="Adobe Fan Heiti Std B" pitchFamily="34" charset="-128"/>
                <a:cs typeface="Leelawadee" pitchFamily="34" charset="-34"/>
                <a:sym typeface="Gill Sans" charset="0"/>
              </a:rPr>
              <a:t>Employee Performance </a:t>
            </a:r>
            <a:r>
              <a:rPr lang="en-US" sz="4400" b="1" dirty="0">
                <a:solidFill>
                  <a:srgbClr val="6EA92D"/>
                </a:solidFill>
                <a:latin typeface="Adobe Fan Heiti Std B" pitchFamily="34" charset="-128"/>
                <a:ea typeface="Adobe Fan Heiti Std B" pitchFamily="34" charset="-128"/>
                <a:cs typeface="Leelawadee" pitchFamily="34" charset="-34"/>
                <a:sym typeface="Gill Sans" charset="0"/>
              </a:rPr>
              <a:t>Continuum</a:t>
            </a:r>
          </a:p>
        </p:txBody>
      </p:sp>
      <p:sp>
        <p:nvSpPr>
          <p:cNvPr id="76" name="TextBox 75"/>
          <p:cNvSpPr txBox="1"/>
          <p:nvPr/>
        </p:nvSpPr>
        <p:spPr>
          <a:xfrm>
            <a:off x="2082800" y="8153400"/>
            <a:ext cx="1828800" cy="369332"/>
          </a:xfrm>
          <a:prstGeom prst="rect">
            <a:avLst/>
          </a:prstGeom>
          <a:solidFill>
            <a:schemeClr val="bg1"/>
          </a:solidFill>
        </p:spPr>
        <p:txBody>
          <a:bodyPr wrap="square" lIns="0" tIns="0" rIns="0" bIns="0" rtlCol="0">
            <a:spAutoFit/>
          </a:bodyPr>
          <a:lstStyle/>
          <a:p>
            <a:pPr algn="l"/>
            <a:r>
              <a:rPr lang="en-US" sz="2400" dirty="0">
                <a:solidFill>
                  <a:srgbClr val="336699"/>
                </a:solidFill>
                <a:latin typeface="Calibri" pitchFamily="34" charset="0"/>
              </a:rPr>
              <a:t>    </a:t>
            </a:r>
            <a:r>
              <a:rPr lang="en-US" sz="2400" b="1" dirty="0">
                <a:solidFill>
                  <a:srgbClr val="336699"/>
                </a:solidFill>
                <a:latin typeface="Calibri" pitchFamily="34" charset="0"/>
              </a:rPr>
              <a:t>Off-Target</a:t>
            </a:r>
            <a:r>
              <a:rPr lang="en-US" sz="1800" b="1" dirty="0">
                <a:solidFill>
                  <a:srgbClr val="336699"/>
                </a:solidFill>
                <a:latin typeface="Calibri" pitchFamily="34" charset="0"/>
              </a:rPr>
              <a:t> </a:t>
            </a:r>
            <a:endParaRPr lang="en-US" sz="2800" b="1" dirty="0">
              <a:solidFill>
                <a:srgbClr val="336699"/>
              </a:solidFill>
              <a:latin typeface="Calibri" pitchFamily="34" charset="0"/>
            </a:endParaRPr>
          </a:p>
        </p:txBody>
      </p:sp>
      <p:sp>
        <p:nvSpPr>
          <p:cNvPr id="19" name="TextBox 18"/>
          <p:cNvSpPr txBox="1"/>
          <p:nvPr/>
        </p:nvSpPr>
        <p:spPr>
          <a:xfrm>
            <a:off x="2387600" y="1824335"/>
            <a:ext cx="1524001" cy="461665"/>
          </a:xfrm>
          <a:prstGeom prst="rect">
            <a:avLst/>
          </a:prstGeom>
          <a:solidFill>
            <a:schemeClr val="bg1"/>
          </a:solidFill>
        </p:spPr>
        <p:txBody>
          <a:bodyPr wrap="square" rtlCol="0">
            <a:spAutoFit/>
          </a:bodyPr>
          <a:lstStyle/>
          <a:p>
            <a:pPr algn="l"/>
            <a:r>
              <a:rPr lang="en-US" sz="2400" b="1" dirty="0">
                <a:solidFill>
                  <a:srgbClr val="92D050"/>
                </a:solidFill>
                <a:latin typeface="Calibri" pitchFamily="34" charset="0"/>
              </a:rPr>
              <a:t>On-Target</a:t>
            </a:r>
            <a:endParaRPr lang="en-US" sz="2800" b="1" dirty="0">
              <a:solidFill>
                <a:srgbClr val="92D050"/>
              </a:solidFill>
              <a:latin typeface="Calibri" pitchFamily="34" charset="0"/>
            </a:endParaRPr>
          </a:p>
        </p:txBody>
      </p:sp>
      <p:grpSp>
        <p:nvGrpSpPr>
          <p:cNvPr id="3" name="Group 71"/>
          <p:cNvGrpSpPr/>
          <p:nvPr/>
        </p:nvGrpSpPr>
        <p:grpSpPr>
          <a:xfrm>
            <a:off x="4368800" y="8686800"/>
            <a:ext cx="4114800" cy="533400"/>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787400" y="7905750"/>
              <a:ext cx="1600200" cy="769442"/>
            </a:xfrm>
            <a:prstGeom prst="rect">
              <a:avLst/>
            </a:prstGeom>
            <a:noFill/>
            <a:ln>
              <a:noFill/>
            </a:ln>
          </p:spPr>
          <p:txBody>
            <a:bodyPr wrap="square" rtlCol="0">
              <a:spAutoFit/>
            </a:bodyPr>
            <a:lstStyle/>
            <a:p>
              <a:r>
                <a:rPr lang="en-US" sz="2200" dirty="0">
                  <a:latin typeface="Calibri" pitchFamily="34" charset="0"/>
                </a:rPr>
                <a:t> </a:t>
              </a:r>
              <a:r>
                <a:rPr lang="en-US" sz="2200" b="1" dirty="0">
                  <a:solidFill>
                    <a:schemeClr val="bg1"/>
                  </a:solidFill>
                  <a:latin typeface="Calibri" pitchFamily="34" charset="0"/>
                </a:rPr>
                <a:t>Observable Behaviors</a:t>
              </a:r>
            </a:p>
          </p:txBody>
        </p:sp>
      </p:grpSp>
      <p:cxnSp>
        <p:nvCxnSpPr>
          <p:cNvPr id="8" name="Straight Connector 7"/>
          <p:cNvCxnSpPr>
            <a:stCxn id="4" idx="1"/>
            <a:endCxn id="4" idx="3"/>
          </p:cNvCxnSpPr>
          <p:nvPr/>
        </p:nvCxnSpPr>
        <p:spPr bwMode="auto">
          <a:xfrm>
            <a:off x="3149600" y="52959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149600" y="2362200"/>
            <a:ext cx="6559063" cy="586740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60" name="Straight Connector 59"/>
          <p:cNvCxnSpPr/>
          <p:nvPr/>
        </p:nvCxnSpPr>
        <p:spPr bwMode="auto">
          <a:xfrm>
            <a:off x="6426200" y="24384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149600" y="53340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8382000"/>
            <a:ext cx="3352800"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2997200" y="2286000"/>
            <a:ext cx="0" cy="3048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149600" y="5334000"/>
            <a:ext cx="6559063"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2997200" y="4648200"/>
            <a:ext cx="0" cy="22860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29132" y="2362200"/>
            <a:ext cx="0" cy="586740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3759200" y="8382000"/>
            <a:ext cx="3352800"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26200" y="2286000"/>
            <a:ext cx="3352800" cy="3048000"/>
          </a:xfrm>
          <a:prstGeom prst="rect">
            <a:avLst/>
          </a:prstGeom>
          <a:solidFill>
            <a:srgbClr val="92D050"/>
          </a:solidFill>
          <a:ln w="76200" cap="flat" cmpd="sng" algn="ctr">
            <a:solidFill>
              <a:srgbClr val="92D050"/>
            </a:solidFill>
            <a:prstDash val="solid"/>
            <a:round/>
            <a:headEnd type="none" w="med" len="med"/>
            <a:tailEnd type="none" w="med" len="med"/>
          </a:ln>
          <a:effectLst>
            <a:glow rad="228600">
              <a:srgbClr val="92D050">
                <a:alpha val="40000"/>
              </a:srgbClr>
            </a:glow>
            <a:softEdge rad="31750"/>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3" name="Freeform 8"/>
          <p:cNvSpPr>
            <a:spLocks/>
          </p:cNvSpPr>
          <p:nvPr/>
        </p:nvSpPr>
        <p:spPr bwMode="blackWhite">
          <a:xfrm rot="13650165">
            <a:off x="7259698" y="5939052"/>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noFill/>
            <a:prstDash val="dash"/>
            <a:round/>
            <a:headEnd type="none" w="sm" len="sm"/>
            <a:tailEnd type="none" w="sm" len="sm"/>
          </a:ln>
        </p:spPr>
        <p:txBody>
          <a:bodyPr lIns="91036" tIns="45503" rIns="91036" bIns="45503"/>
          <a:lstStyle/>
          <a:p>
            <a:pPr>
              <a:defRPr/>
            </a:pPr>
            <a:endParaRPr lang="en-GB"/>
          </a:p>
        </p:txBody>
      </p:sp>
      <p:sp>
        <p:nvSpPr>
          <p:cNvPr id="104" name="Freeform 8"/>
          <p:cNvSpPr>
            <a:spLocks/>
          </p:cNvSpPr>
          <p:nvPr/>
        </p:nvSpPr>
        <p:spPr bwMode="blackWhite">
          <a:xfrm rot="18862291">
            <a:off x="5429642" y="3290800"/>
            <a:ext cx="853675" cy="787172"/>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sp>
        <p:nvSpPr>
          <p:cNvPr id="109" name="Text Box 12"/>
          <p:cNvSpPr txBox="1">
            <a:spLocks noChangeAspect="1" noChangeArrowheads="1"/>
          </p:cNvSpPr>
          <p:nvPr/>
        </p:nvSpPr>
        <p:spPr bwMode="auto">
          <a:xfrm>
            <a:off x="6640443" y="7098995"/>
            <a:ext cx="833919" cy="529793"/>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Low</a:t>
            </a:r>
          </a:p>
        </p:txBody>
      </p:sp>
      <p:sp>
        <p:nvSpPr>
          <p:cNvPr id="110" name="Rectangle 109"/>
          <p:cNvSpPr/>
          <p:nvPr/>
        </p:nvSpPr>
        <p:spPr bwMode="auto">
          <a:xfrm>
            <a:off x="7091271" y="5495881"/>
            <a:ext cx="1279022" cy="234105"/>
          </a:xfrm>
          <a:prstGeom prst="rect">
            <a:avLst/>
          </a:prstGeom>
          <a:solidFill>
            <a:srgbClr val="92D050"/>
          </a:solidFill>
          <a:ln w="25400" cap="flat" cmpd="sng" algn="ctr">
            <a:noFill/>
            <a:prstDash val="solid"/>
            <a:round/>
            <a:headEnd type="none" w="med" len="med"/>
            <a:tailEnd type="none" w="med" len="med"/>
          </a:ln>
          <a:effectLst/>
          <a:extLst/>
        </p:spPr>
        <p:txBody>
          <a:bodyPr vert="horz" wrap="square" lIns="91036" tIns="45503" rIns="91036" bIns="45503" numCol="1" rtlCol="0" anchor="t" anchorCtr="0" compatLnSpc="1">
            <a:prstTxWarp prst="textNoShape">
              <a:avLst/>
            </a:prstTxWarp>
          </a:bodyPr>
          <a:lstStyle/>
          <a:p>
            <a:pPr defTabSz="910276"/>
            <a:endParaRPr lang="en-US">
              <a:solidFill>
                <a:srgbClr val="BAD80A"/>
              </a:solidFill>
            </a:endParaRPr>
          </a:p>
        </p:txBody>
      </p:sp>
      <p:pic>
        <p:nvPicPr>
          <p:cNvPr id="111" name="Picture 110"/>
          <p:cNvPicPr>
            <a:picLocks noChangeAspect="1"/>
          </p:cNvPicPr>
          <p:nvPr/>
        </p:nvPicPr>
        <p:blipFill>
          <a:blip r:embed="rId4">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53222" y="4514828"/>
            <a:ext cx="389692" cy="639095"/>
          </a:xfrm>
          <a:prstGeom prst="rect">
            <a:avLst/>
          </a:prstGeom>
        </p:spPr>
      </p:pic>
      <p:pic>
        <p:nvPicPr>
          <p:cNvPr id="112" name="Picture 111"/>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97905" y="4212260"/>
            <a:ext cx="389692" cy="639095"/>
          </a:xfrm>
          <a:prstGeom prst="rect">
            <a:avLst/>
          </a:prstGeom>
        </p:spPr>
      </p:pic>
      <p:pic>
        <p:nvPicPr>
          <p:cNvPr id="113" name="Picture 112"/>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07586" y="3306095"/>
            <a:ext cx="389692" cy="639095"/>
          </a:xfrm>
          <a:prstGeom prst="rect">
            <a:avLst/>
          </a:prstGeom>
        </p:spPr>
      </p:pic>
      <p:pic>
        <p:nvPicPr>
          <p:cNvPr id="114" name="Picture 113"/>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16613" y="2667000"/>
            <a:ext cx="389692" cy="639095"/>
          </a:xfrm>
          <a:prstGeom prst="rect">
            <a:avLst/>
          </a:prstGeom>
        </p:spPr>
      </p:pic>
      <p:pic>
        <p:nvPicPr>
          <p:cNvPr id="115" name="Picture 1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35372" y="6146269"/>
            <a:ext cx="389692" cy="639095"/>
          </a:xfrm>
          <a:prstGeom prst="rect">
            <a:avLst/>
          </a:prstGeom>
        </p:spPr>
      </p:pic>
      <p:grpSp>
        <p:nvGrpSpPr>
          <p:cNvPr id="5" name="Group 126"/>
          <p:cNvGrpSpPr/>
          <p:nvPr/>
        </p:nvGrpSpPr>
        <p:grpSpPr>
          <a:xfrm>
            <a:off x="8083165" y="5047785"/>
            <a:ext cx="1543435" cy="2581576"/>
            <a:chOff x="8083165" y="5047785"/>
            <a:chExt cx="1543435" cy="2581576"/>
          </a:xfrm>
        </p:grpSpPr>
        <p:grpSp>
          <p:nvGrpSpPr>
            <p:cNvPr id="7" name="Group 18"/>
            <p:cNvGrpSpPr/>
            <p:nvPr/>
          </p:nvGrpSpPr>
          <p:grpSpPr>
            <a:xfrm>
              <a:off x="8959112" y="5047785"/>
              <a:ext cx="450850" cy="1828473"/>
              <a:chOff x="9231113" y="4699504"/>
              <a:chExt cx="450850" cy="1828473"/>
            </a:xfrm>
          </p:grpSpPr>
          <p:sp>
            <p:nvSpPr>
              <p:cNvPr id="106" name="Freeform 105"/>
              <p:cNvSpPr>
                <a:spLocks/>
              </p:cNvSpPr>
              <p:nvPr>
                <p:custDataLst>
                  <p:tags r:id="rId2"/>
                </p:custDataLst>
              </p:nvPr>
            </p:nvSpPr>
            <p:spPr bwMode="auto">
              <a:xfrm rot="542693" flipV="1">
                <a:off x="9231113" y="4776575"/>
                <a:ext cx="450850" cy="1680579"/>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chemeClr val="bg1"/>
              </a:solidFill>
              <a:ln w="6350">
                <a:noFill/>
                <a:round/>
                <a:headEnd/>
                <a:tailEnd/>
              </a:ln>
            </p:spPr>
            <p:txBody>
              <a:bodyPr tIns="91440" bIns="91440" anchor="ctr"/>
              <a:lstStyle/>
              <a:p>
                <a:pPr>
                  <a:defRPr/>
                </a:pPr>
                <a:endParaRPr lang="en-US" dirty="0"/>
              </a:p>
            </p:txBody>
          </p:sp>
          <p:cxnSp>
            <p:nvCxnSpPr>
              <p:cNvPr id="107" name="Straight Connector 106"/>
              <p:cNvCxnSpPr/>
              <p:nvPr/>
            </p:nvCxnSpPr>
            <p:spPr bwMode="auto">
              <a:xfrm flipV="1">
                <a:off x="9322575" y="4699504"/>
                <a:ext cx="0" cy="1828473"/>
              </a:xfrm>
              <a:prstGeom prst="line">
                <a:avLst/>
              </a:prstGeom>
              <a:solidFill>
                <a:schemeClr val="accent1"/>
              </a:solidFill>
              <a:ln w="44450" cap="flat"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08" name="Text Box 12"/>
            <p:cNvSpPr txBox="1">
              <a:spLocks noChangeAspect="1" noChangeArrowheads="1"/>
            </p:cNvSpPr>
            <p:nvPr/>
          </p:nvSpPr>
          <p:spPr bwMode="auto">
            <a:xfrm>
              <a:off x="8083165" y="7099304"/>
              <a:ext cx="1543435" cy="530057"/>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Growing</a:t>
              </a:r>
            </a:p>
          </p:txBody>
        </p:sp>
        <p:pic>
          <p:nvPicPr>
            <p:cNvPr id="116"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03949" y="6427828"/>
              <a:ext cx="390525" cy="63341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116"/>
          <p:cNvGrpSpPr/>
          <p:nvPr/>
        </p:nvGrpSpPr>
        <p:grpSpPr>
          <a:xfrm>
            <a:off x="3868199" y="5516267"/>
            <a:ext cx="2273021" cy="1871784"/>
            <a:chOff x="3987800" y="4482311"/>
            <a:chExt cx="2273021" cy="1871784"/>
          </a:xfrm>
        </p:grpSpPr>
        <p:sp>
          <p:nvSpPr>
            <p:cNvPr id="118" name="Freeform 8"/>
            <p:cNvSpPr>
              <a:spLocks/>
            </p:cNvSpPr>
            <p:nvPr/>
          </p:nvSpPr>
          <p:spPr bwMode="blackWhite">
            <a:xfrm rot="16997566">
              <a:off x="5343246" y="4502947"/>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pic>
          <p:nvPicPr>
            <p:cNvPr id="119" name="Picture 118"/>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87800" y="5715000"/>
              <a:ext cx="389692" cy="639095"/>
            </a:xfrm>
            <a:prstGeom prst="rect">
              <a:avLst/>
            </a:prstGeom>
          </p:spPr>
        </p:pic>
        <p:pic>
          <p:nvPicPr>
            <p:cNvPr id="120" name="Picture 119"/>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17166" y="4799347"/>
              <a:ext cx="389692" cy="639095"/>
            </a:xfrm>
            <a:prstGeom prst="rect">
              <a:avLst/>
            </a:prstGeom>
          </p:spPr>
        </p:pic>
      </p:grpSp>
      <p:grpSp>
        <p:nvGrpSpPr>
          <p:cNvPr id="10" name="Group 120"/>
          <p:cNvGrpSpPr/>
          <p:nvPr/>
        </p:nvGrpSpPr>
        <p:grpSpPr>
          <a:xfrm>
            <a:off x="6839999" y="2938956"/>
            <a:ext cx="2297048" cy="2105793"/>
            <a:chOff x="6959600" y="1905000"/>
            <a:chExt cx="2297048" cy="2105793"/>
          </a:xfrm>
        </p:grpSpPr>
        <p:pic>
          <p:nvPicPr>
            <p:cNvPr id="122" name="Picture 121"/>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78800" y="1905000"/>
              <a:ext cx="389692" cy="639095"/>
            </a:xfrm>
            <a:prstGeom prst="rect">
              <a:avLst/>
            </a:prstGeom>
          </p:spPr>
        </p:pic>
        <p:pic>
          <p:nvPicPr>
            <p:cNvPr id="123" name="Picture 122"/>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5352" y="3371698"/>
              <a:ext cx="389692" cy="639095"/>
            </a:xfrm>
            <a:prstGeom prst="rect">
              <a:avLst/>
            </a:prstGeom>
          </p:spPr>
        </p:pic>
        <p:pic>
          <p:nvPicPr>
            <p:cNvPr id="124" name="Picture 123"/>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59600" y="2057400"/>
              <a:ext cx="389692" cy="639095"/>
            </a:xfrm>
            <a:prstGeom prst="rect">
              <a:avLst/>
            </a:prstGeom>
          </p:spPr>
        </p:pic>
        <p:pic>
          <p:nvPicPr>
            <p:cNvPr id="125" name="Picture 12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66956" y="2943242"/>
              <a:ext cx="389692" cy="639095"/>
            </a:xfrm>
            <a:prstGeom prst="rect">
              <a:avLst/>
            </a:prstGeom>
          </p:spPr>
        </p:pic>
        <p:pic>
          <p:nvPicPr>
            <p:cNvPr id="126" name="Picture 12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0733" y="3142511"/>
              <a:ext cx="389692" cy="639095"/>
            </a:xfrm>
            <a:prstGeom prst="rect">
              <a:avLst/>
            </a:prstGeom>
          </p:spPr>
        </p:pic>
      </p:grpSp>
      <p:sp>
        <p:nvSpPr>
          <p:cNvPr id="129" name="Rounded Rectangle 128"/>
          <p:cNvSpPr/>
          <p:nvPr/>
        </p:nvSpPr>
        <p:spPr bwMode="auto">
          <a:xfrm>
            <a:off x="254000" y="4419600"/>
            <a:ext cx="2590800" cy="2743200"/>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7" name="Rectangle 56"/>
          <p:cNvSpPr/>
          <p:nvPr/>
        </p:nvSpPr>
        <p:spPr bwMode="auto">
          <a:xfrm>
            <a:off x="10769600" y="5257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8" name="Rectangle 57"/>
          <p:cNvSpPr/>
          <p:nvPr/>
        </p:nvSpPr>
        <p:spPr bwMode="auto">
          <a:xfrm>
            <a:off x="10160000" y="4953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9" name="TextBox 58"/>
          <p:cNvSpPr txBox="1"/>
          <p:nvPr/>
        </p:nvSpPr>
        <p:spPr>
          <a:xfrm>
            <a:off x="10617200" y="7126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a:t>
            </a:r>
          </a:p>
        </p:txBody>
      </p:sp>
      <p:sp>
        <p:nvSpPr>
          <p:cNvPr id="64" name="Rectangle 63"/>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down)">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wipe(down)">
                                      <p:cBhvr>
                                        <p:cTn id="19" dur="500"/>
                                        <p:tgtEl>
                                          <p:spTgt spid="115"/>
                                        </p:tgtEl>
                                      </p:cBhvr>
                                    </p:animEffec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109"/>
                                        </p:tgtEl>
                                        <p:attrNameLst>
                                          <p:attrName>style.visibility</p:attrName>
                                        </p:attrNameLst>
                                      </p:cBhvr>
                                      <p:to>
                                        <p:strVal val="visible"/>
                                      </p:to>
                                    </p:set>
                                    <p:animEffect transition="in" filter="wipe(down)">
                                      <p:cBhvr>
                                        <p:cTn id="23" dur="500"/>
                                        <p:tgtEl>
                                          <p:spTgt spid="109"/>
                                        </p:tgtEl>
                                      </p:cBhvr>
                                    </p:animEffect>
                                  </p:childTnLst>
                                </p:cTn>
                              </p:par>
                            </p:childTnLst>
                          </p:cTn>
                        </p:par>
                        <p:par>
                          <p:cTn id="24" fill="hold">
                            <p:stCondLst>
                              <p:cond delay="1000"/>
                            </p:stCondLst>
                            <p:childTnLst>
                              <p:par>
                                <p:cTn id="25" presetID="22" presetClass="entr" presetSubtype="1" fill="hold" grpId="0" nodeType="afterEffect">
                                  <p:stCondLst>
                                    <p:cond delay="0"/>
                                  </p:stCondLst>
                                  <p:childTnLst>
                                    <p:set>
                                      <p:cBhvr>
                                        <p:cTn id="26" dur="1" fill="hold">
                                          <p:stCondLst>
                                            <p:cond delay="0"/>
                                          </p:stCondLst>
                                        </p:cTn>
                                        <p:tgtEl>
                                          <p:spTgt spid="110"/>
                                        </p:tgtEl>
                                        <p:attrNameLst>
                                          <p:attrName>style.visibility</p:attrName>
                                        </p:attrNameLst>
                                      </p:cBhvr>
                                      <p:to>
                                        <p:strVal val="visible"/>
                                      </p:to>
                                    </p:set>
                                    <p:animEffect transition="in" filter="wipe(up)">
                                      <p:cBhvr>
                                        <p:cTn id="27" dur="500"/>
                                        <p:tgtEl>
                                          <p:spTgt spid="110"/>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wipe(down)">
                                      <p:cBhvr>
                                        <p:cTn id="31" dur="500"/>
                                        <p:tgtEl>
                                          <p:spTgt spid="10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112"/>
                                        </p:tgtEl>
                                        <p:attrNameLst>
                                          <p:attrName>style.visibility</p:attrName>
                                        </p:attrNameLst>
                                      </p:cBhvr>
                                      <p:to>
                                        <p:strVal val="visible"/>
                                      </p:to>
                                    </p:set>
                                    <p:animEffect transition="in" filter="wipe(down)">
                                      <p:cBhvr>
                                        <p:cTn id="36" dur="500"/>
                                        <p:tgtEl>
                                          <p:spTgt spid="112"/>
                                        </p:tgtEl>
                                      </p:cBhvr>
                                    </p:animEffect>
                                  </p:childTnLst>
                                </p:cTn>
                              </p:par>
                            </p:childTnLst>
                          </p:cTn>
                        </p:par>
                        <p:par>
                          <p:cTn id="37" fill="hold">
                            <p:stCondLst>
                              <p:cond delay="500"/>
                            </p:stCondLst>
                            <p:childTnLst>
                              <p:par>
                                <p:cTn id="38" presetID="22" presetClass="entr" presetSubtype="4" fill="hold"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wipe(down)">
                                      <p:cBhvr>
                                        <p:cTn id="40" dur="500"/>
                                        <p:tgtEl>
                                          <p:spTgt spid="114"/>
                                        </p:tgtEl>
                                      </p:cBhvr>
                                    </p:animEffect>
                                  </p:childTnLst>
                                </p:cTn>
                              </p:par>
                            </p:childTnLst>
                          </p:cTn>
                        </p:par>
                        <p:par>
                          <p:cTn id="41" fill="hold">
                            <p:stCondLst>
                              <p:cond delay="1000"/>
                            </p:stCondLst>
                            <p:childTnLst>
                              <p:par>
                                <p:cTn id="42" presetID="22" presetClass="entr" presetSubtype="4" fill="hold" nodeType="afterEffect">
                                  <p:stCondLst>
                                    <p:cond delay="0"/>
                                  </p:stCondLst>
                                  <p:childTnLst>
                                    <p:set>
                                      <p:cBhvr>
                                        <p:cTn id="43" dur="1" fill="hold">
                                          <p:stCondLst>
                                            <p:cond delay="0"/>
                                          </p:stCondLst>
                                        </p:cTn>
                                        <p:tgtEl>
                                          <p:spTgt spid="113"/>
                                        </p:tgtEl>
                                        <p:attrNameLst>
                                          <p:attrName>style.visibility</p:attrName>
                                        </p:attrNameLst>
                                      </p:cBhvr>
                                      <p:to>
                                        <p:strVal val="visible"/>
                                      </p:to>
                                    </p:set>
                                    <p:animEffect transition="in" filter="wipe(down)">
                                      <p:cBhvr>
                                        <p:cTn id="44" dur="500"/>
                                        <p:tgtEl>
                                          <p:spTgt spid="113"/>
                                        </p:tgtEl>
                                      </p:cBhvr>
                                    </p:animEffect>
                                  </p:childTnLst>
                                </p:cTn>
                              </p:par>
                              <p:par>
                                <p:cTn id="45" presetID="22" presetClass="entr" presetSubtype="4" fill="hold" nodeType="withEffect">
                                  <p:stCondLst>
                                    <p:cond delay="0"/>
                                  </p:stCondLst>
                                  <p:childTnLst>
                                    <p:set>
                                      <p:cBhvr>
                                        <p:cTn id="46" dur="1" fill="hold">
                                          <p:stCondLst>
                                            <p:cond delay="0"/>
                                          </p:stCondLst>
                                        </p:cTn>
                                        <p:tgtEl>
                                          <p:spTgt spid="111"/>
                                        </p:tgtEl>
                                        <p:attrNameLst>
                                          <p:attrName>style.visibility</p:attrName>
                                        </p:attrNameLst>
                                      </p:cBhvr>
                                      <p:to>
                                        <p:strVal val="visible"/>
                                      </p:to>
                                    </p:set>
                                    <p:animEffect transition="in" filter="wipe(down)">
                                      <p:cBhvr>
                                        <p:cTn id="47" dur="500"/>
                                        <p:tgtEl>
                                          <p:spTgt spid="111"/>
                                        </p:tgtEl>
                                      </p:cBhvr>
                                    </p:animEffect>
                                  </p:childTnLst>
                                </p:cTn>
                              </p:par>
                            </p:childTnLst>
                          </p:cTn>
                        </p:par>
                        <p:par>
                          <p:cTn id="48" fill="hold">
                            <p:stCondLst>
                              <p:cond delay="1500"/>
                            </p:stCondLst>
                            <p:childTnLst>
                              <p:par>
                                <p:cTn id="49" presetID="22" presetClass="entr" presetSubtype="8" fill="hold" grpId="0" nodeType="afterEffect">
                                  <p:stCondLst>
                                    <p:cond delay="0"/>
                                  </p:stCondLst>
                                  <p:childTnLst>
                                    <p:set>
                                      <p:cBhvr>
                                        <p:cTn id="50" dur="1" fill="hold">
                                          <p:stCondLst>
                                            <p:cond delay="0"/>
                                          </p:stCondLst>
                                        </p:cTn>
                                        <p:tgtEl>
                                          <p:spTgt spid="104"/>
                                        </p:tgtEl>
                                        <p:attrNameLst>
                                          <p:attrName>style.visibility</p:attrName>
                                        </p:attrNameLst>
                                      </p:cBhvr>
                                      <p:to>
                                        <p:strVal val="visible"/>
                                      </p:to>
                                    </p:set>
                                    <p:animEffect transition="in" filter="wipe(left)">
                                      <p:cBhvr>
                                        <p:cTn id="51" dur="500"/>
                                        <p:tgtEl>
                                          <p:spTgt spid="104"/>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nodeType="clickEffect">
                                  <p:stCondLst>
                                    <p:cond delay="0"/>
                                  </p:stCondLst>
                                  <p:childTnLst>
                                    <p:set>
                                      <p:cBhvr>
                                        <p:cTn id="55" dur="1" fill="hold">
                                          <p:stCondLst>
                                            <p:cond delay="0"/>
                                          </p:stCondLst>
                                        </p:cTn>
                                        <p:tgtEl>
                                          <p:spTgt spid="9"/>
                                        </p:tgtEl>
                                        <p:attrNameLst>
                                          <p:attrName>style.visibility</p:attrName>
                                        </p:attrNameLst>
                                      </p:cBhvr>
                                      <p:to>
                                        <p:strVal val="visible"/>
                                      </p:to>
                                    </p:set>
                                    <p:animEffect transition="in" filter="wipe(down)">
                                      <p:cBhvr>
                                        <p:cTn id="5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P spid="109" grpId="0"/>
      <p:bldP spid="1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403882"/>
            <a:ext cx="3530600" cy="4009097"/>
          </a:xfrm>
          <a:prstGeom prst="rect">
            <a:avLst/>
          </a:prstGeom>
          <a:noFill/>
        </p:spPr>
        <p:txBody>
          <a:bodyPr wrap="square" lIns="129844" tIns="64922" rIns="129844" bIns="64922" rtlCol="0">
            <a:spAutoFit/>
          </a:bodyPr>
          <a:lstStyle/>
          <a:p>
            <a:pPr algn="l"/>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Review the Performance Continuum Quadrant Descriptions</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4"/>
          <a:stretch>
            <a:fillRect/>
          </a:stretch>
        </p:blipFill>
        <p:spPr bwMode="auto">
          <a:xfrm>
            <a:off x="10836275" y="5400675"/>
            <a:ext cx="923925" cy="923925"/>
          </a:xfrm>
          <a:prstGeom prst="rect">
            <a:avLst/>
          </a:prstGeom>
          <a:noFill/>
          <a:ln>
            <a:noFill/>
          </a:ln>
        </p:spPr>
      </p:pic>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Page 26</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grpSp>
        <p:nvGrpSpPr>
          <p:cNvPr id="6" name="Group 44">
            <a:extLst>
              <a:ext uri="{FF2B5EF4-FFF2-40B4-BE49-F238E27FC236}">
                <a16:creationId xmlns:a16="http://schemas.microsoft.com/office/drawing/2014/main" id="{AFE3CE2D-36C3-4AF4-A471-1CA78E6A4129}"/>
              </a:ext>
            </a:extLst>
          </p:cNvPr>
          <p:cNvGrpSpPr/>
          <p:nvPr/>
        </p:nvGrpSpPr>
        <p:grpSpPr>
          <a:xfrm>
            <a:off x="9855200" y="9001780"/>
            <a:ext cx="2717800" cy="675620"/>
            <a:chOff x="11150600" y="7086600"/>
            <a:chExt cx="1270000" cy="675620"/>
          </a:xfrm>
        </p:grpSpPr>
        <p:pic>
          <p:nvPicPr>
            <p:cNvPr id="55" name="Picture 2">
              <a:extLst>
                <a:ext uri="{FF2B5EF4-FFF2-40B4-BE49-F238E27FC236}">
                  <a16:creationId xmlns:a16="http://schemas.microsoft.com/office/drawing/2014/main" id="{D103D0B9-681D-45E1-8057-91C113FE0CC7}"/>
                </a:ext>
              </a:extLst>
            </p:cNvPr>
            <p:cNvPicPr>
              <a:picLocks noChangeAspect="1" noChangeArrowheads="1"/>
            </p:cNvPicPr>
            <p:nvPr/>
          </p:nvPicPr>
          <p:blipFill>
            <a:blip r:embed="rId5"/>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3" name="TextBox 62">
              <a:extLst>
                <a:ext uri="{FF2B5EF4-FFF2-40B4-BE49-F238E27FC236}">
                  <a16:creationId xmlns:a16="http://schemas.microsoft.com/office/drawing/2014/main" id="{E125B1B2-AD5D-49CB-88D8-02C216CB1410}"/>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11</a:t>
              </a:r>
            </a:p>
          </p:txBody>
        </p:sp>
      </p:grpSp>
      <p:pic>
        <p:nvPicPr>
          <p:cNvPr id="42" name="Picture 2"/>
          <p:cNvPicPr>
            <a:picLocks noChangeAspect="1" noChangeArrowheads="1"/>
          </p:cNvPicPr>
          <p:nvPr/>
        </p:nvPicPr>
        <p:blipFill>
          <a:blip r:embed="rId6"/>
          <a:srcRect/>
          <a:stretch>
            <a:fillRect/>
          </a:stretch>
        </p:blipFill>
        <p:spPr bwMode="auto">
          <a:xfrm>
            <a:off x="224484" y="762001"/>
            <a:ext cx="8868716" cy="7830764"/>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2</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dirty="0"/>
              <a:t>©2017 copyright Employee Performance Solutions, LLC  All Rights Reserved | For Use Within Client Organization</a:t>
            </a:r>
          </a:p>
        </p:txBody>
      </p:sp>
      <p:graphicFrame>
        <p:nvGraphicFramePr>
          <p:cNvPr id="6" name="Diagram 5"/>
          <p:cNvGraphicFramePr/>
          <p:nvPr/>
        </p:nvGraphicFramePr>
        <p:xfrm>
          <a:off x="533400" y="381000"/>
          <a:ext cx="11607800" cy="845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 Box 22"/>
          <p:cNvSpPr txBox="1">
            <a:spLocks noChangeArrowheads="1"/>
          </p:cNvSpPr>
          <p:nvPr/>
        </p:nvSpPr>
        <p:spPr bwMode="auto">
          <a:xfrm>
            <a:off x="863600" y="4876800"/>
            <a:ext cx="3886200" cy="990600"/>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912813" indent="-571500"/>
            <a:r>
              <a:rPr lang="en-US" sz="1800" b="1" dirty="0">
                <a:latin typeface="+mn-lt"/>
              </a:rPr>
              <a:t>Engage in two-way dialogue with</a:t>
            </a:r>
          </a:p>
          <a:p>
            <a:pPr marL="912813" indent="-571500"/>
            <a:r>
              <a:rPr lang="en-US" sz="1800" b="1" dirty="0">
                <a:latin typeface="+mn-lt"/>
              </a:rPr>
              <a:t>peers and managers to comfortably</a:t>
            </a:r>
          </a:p>
          <a:p>
            <a:pPr marL="912813" indent="-571500"/>
            <a:r>
              <a:rPr lang="en-US" sz="1800" b="1" dirty="0">
                <a:latin typeface="+mn-lt"/>
              </a:rPr>
              <a:t>give and receive feedback.</a:t>
            </a:r>
          </a:p>
        </p:txBody>
      </p:sp>
      <p:sp>
        <p:nvSpPr>
          <p:cNvPr id="8" name="Text Box 17"/>
          <p:cNvSpPr txBox="1">
            <a:spLocks noChangeArrowheads="1"/>
          </p:cNvSpPr>
          <p:nvPr/>
        </p:nvSpPr>
        <p:spPr bwMode="auto">
          <a:xfrm>
            <a:off x="4368800" y="2286000"/>
            <a:ext cx="4114800" cy="609600"/>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1800" b="1" dirty="0">
                <a:latin typeface="+mn-lt"/>
              </a:rPr>
              <a:t>Graph and retrace  your experience and professional growth over a period of time</a:t>
            </a:r>
          </a:p>
        </p:txBody>
      </p:sp>
      <p:sp>
        <p:nvSpPr>
          <p:cNvPr id="9" name="Text Box 18"/>
          <p:cNvSpPr txBox="1">
            <a:spLocks noChangeArrowheads="1"/>
          </p:cNvSpPr>
          <p:nvPr/>
        </p:nvSpPr>
        <p:spPr bwMode="auto">
          <a:xfrm>
            <a:off x="8026400" y="4724400"/>
            <a:ext cx="4038600" cy="807918"/>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lvl="0" algn="ctr" defTabSz="914400" fontAlgn="base">
              <a:spcBef>
                <a:spcPct val="0"/>
              </a:spcBef>
              <a:spcAft>
                <a:spcPct val="0"/>
              </a:spcAft>
            </a:pPr>
            <a:r>
              <a:rPr lang="en-US" sz="1800" b="1" dirty="0">
                <a:latin typeface="+mn-lt"/>
              </a:rPr>
              <a:t>Use visual model to self-reflect on your performance now and plan for the future</a:t>
            </a:r>
            <a:endParaRPr kumimoji="0" lang="en-US" sz="4000" b="1" i="0" u="none" strike="noStrike" cap="none" normalizeH="0" baseline="0" dirty="0">
              <a:ln>
                <a:noFill/>
              </a:ln>
              <a:solidFill>
                <a:schemeClr val="tx1"/>
              </a:solidFill>
              <a:effectLst/>
              <a:latin typeface="+mn-lt"/>
              <a:cs typeface="Arial" pitchFamily="34" charset="0"/>
            </a:endParaRPr>
          </a:p>
        </p:txBody>
      </p:sp>
      <p:sp>
        <p:nvSpPr>
          <p:cNvPr id="10" name="Text Box 20"/>
          <p:cNvSpPr txBox="1">
            <a:spLocks noChangeArrowheads="1"/>
          </p:cNvSpPr>
          <p:nvPr/>
        </p:nvSpPr>
        <p:spPr bwMode="auto">
          <a:xfrm>
            <a:off x="7264400" y="8686800"/>
            <a:ext cx="4495800" cy="807918"/>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lvl="0" algn="ctr" defTabSz="914400" fontAlgn="base">
              <a:spcBef>
                <a:spcPct val="0"/>
              </a:spcBef>
              <a:spcAft>
                <a:spcPct val="0"/>
              </a:spcAft>
            </a:pPr>
            <a:r>
              <a:rPr lang="en-US" sz="1800" b="1" dirty="0">
                <a:latin typeface="+mn-lt"/>
              </a:rPr>
              <a:t>Ask the right questions to leverage new points of view and the perspective of others</a:t>
            </a:r>
            <a:br>
              <a:rPr lang="en-US" sz="1000" b="1" dirty="0">
                <a:latin typeface="+mn-lt"/>
              </a:rPr>
            </a:br>
            <a:endParaRPr kumimoji="0" lang="en-US" sz="1800" b="1" i="0" u="none" strike="noStrike" cap="none" normalizeH="0" baseline="0" dirty="0">
              <a:ln>
                <a:noFill/>
              </a:ln>
              <a:solidFill>
                <a:schemeClr val="tx1"/>
              </a:solidFill>
              <a:effectLst/>
              <a:latin typeface="+mn-lt"/>
              <a:cs typeface="Arial" pitchFamily="34" charset="0"/>
            </a:endParaRPr>
          </a:p>
        </p:txBody>
      </p:sp>
      <p:sp>
        <p:nvSpPr>
          <p:cNvPr id="11" name="Text Box 21"/>
          <p:cNvSpPr txBox="1">
            <a:spLocks noChangeArrowheads="1"/>
          </p:cNvSpPr>
          <p:nvPr/>
        </p:nvSpPr>
        <p:spPr bwMode="auto">
          <a:xfrm>
            <a:off x="711200" y="8766145"/>
            <a:ext cx="6019800" cy="98745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lvl="0" algn="ctr" defTabSz="914400" fontAlgn="base">
              <a:spcBef>
                <a:spcPct val="0"/>
              </a:spcBef>
              <a:spcAft>
                <a:spcPct val="0"/>
              </a:spcAft>
            </a:pPr>
            <a:r>
              <a:rPr lang="en-US" sz="1800" b="1" dirty="0">
                <a:latin typeface="+mj-lt"/>
              </a:rPr>
              <a:t>Give more complete information to others  when</a:t>
            </a:r>
            <a:br>
              <a:rPr lang="en-US" sz="1800" b="1" dirty="0">
                <a:latin typeface="+mj-lt"/>
              </a:rPr>
            </a:br>
            <a:r>
              <a:rPr lang="en-US" sz="1800" b="1" dirty="0">
                <a:latin typeface="+mj-lt"/>
              </a:rPr>
              <a:t> volunteering your feedback or being asked for input</a:t>
            </a:r>
            <a:endParaRPr kumimoji="0" lang="en-US" sz="4000" b="1" i="0" u="none" strike="noStrike" cap="none" normalizeH="0" baseline="0" dirty="0">
              <a:ln>
                <a:noFill/>
              </a:ln>
              <a:solidFill>
                <a:schemeClr val="tx1"/>
              </a:solidFill>
              <a:effectLst/>
              <a:latin typeface="+mj-lt"/>
              <a:cs typeface="Arial" pitchFamily="34" charset="0"/>
            </a:endParaRPr>
          </a:p>
        </p:txBody>
      </p:sp>
      <p:sp>
        <p:nvSpPr>
          <p:cNvPr id="12" name="Freeform 11"/>
          <p:cNvSpPr/>
          <p:nvPr/>
        </p:nvSpPr>
        <p:spPr>
          <a:xfrm>
            <a:off x="5359400" y="3429000"/>
            <a:ext cx="2235201" cy="2276250"/>
          </a:xfrm>
          <a:custGeom>
            <a:avLst/>
            <a:gdLst>
              <a:gd name="connsiteX0" fmla="*/ 0 w 1916112"/>
              <a:gd name="connsiteY0" fmla="*/ 958056 h 1916112"/>
              <a:gd name="connsiteX1" fmla="*/ 280609 w 1916112"/>
              <a:gd name="connsiteY1" fmla="*/ 280608 h 1916112"/>
              <a:gd name="connsiteX2" fmla="*/ 958058 w 1916112"/>
              <a:gd name="connsiteY2" fmla="*/ 1 h 1916112"/>
              <a:gd name="connsiteX3" fmla="*/ 1635506 w 1916112"/>
              <a:gd name="connsiteY3" fmla="*/ 280610 h 1916112"/>
              <a:gd name="connsiteX4" fmla="*/ 1916113 w 1916112"/>
              <a:gd name="connsiteY4" fmla="*/ 958059 h 1916112"/>
              <a:gd name="connsiteX5" fmla="*/ 1635505 w 1916112"/>
              <a:gd name="connsiteY5" fmla="*/ 1635507 h 1916112"/>
              <a:gd name="connsiteX6" fmla="*/ 958057 w 1916112"/>
              <a:gd name="connsiteY6" fmla="*/ 1916115 h 1916112"/>
              <a:gd name="connsiteX7" fmla="*/ 280609 w 1916112"/>
              <a:gd name="connsiteY7" fmla="*/ 1635506 h 1916112"/>
              <a:gd name="connsiteX8" fmla="*/ 1 w 1916112"/>
              <a:gd name="connsiteY8" fmla="*/ 958058 h 1916112"/>
              <a:gd name="connsiteX9" fmla="*/ 0 w 1916112"/>
              <a:gd name="connsiteY9" fmla="*/ 958056 h 191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6112" h="1916112">
                <a:moveTo>
                  <a:pt x="0" y="958056"/>
                </a:moveTo>
                <a:cubicBezTo>
                  <a:pt x="0" y="703964"/>
                  <a:pt x="100938" y="460278"/>
                  <a:pt x="280609" y="280608"/>
                </a:cubicBezTo>
                <a:cubicBezTo>
                  <a:pt x="460280" y="100938"/>
                  <a:pt x="703965" y="0"/>
                  <a:pt x="958058" y="1"/>
                </a:cubicBezTo>
                <a:cubicBezTo>
                  <a:pt x="1212150" y="1"/>
                  <a:pt x="1455836" y="100939"/>
                  <a:pt x="1635506" y="280610"/>
                </a:cubicBezTo>
                <a:cubicBezTo>
                  <a:pt x="1815176" y="460281"/>
                  <a:pt x="1916114" y="703966"/>
                  <a:pt x="1916113" y="958059"/>
                </a:cubicBezTo>
                <a:cubicBezTo>
                  <a:pt x="1916113" y="1212151"/>
                  <a:pt x="1815175" y="1455837"/>
                  <a:pt x="1635505" y="1635507"/>
                </a:cubicBezTo>
                <a:cubicBezTo>
                  <a:pt x="1455835" y="1815177"/>
                  <a:pt x="1212149" y="1916115"/>
                  <a:pt x="958057" y="1916115"/>
                </a:cubicBezTo>
                <a:cubicBezTo>
                  <a:pt x="703965" y="1916115"/>
                  <a:pt x="460279" y="1815177"/>
                  <a:pt x="280609" y="1635506"/>
                </a:cubicBezTo>
                <a:cubicBezTo>
                  <a:pt x="100939" y="1455835"/>
                  <a:pt x="1" y="1212150"/>
                  <a:pt x="1" y="958058"/>
                </a:cubicBezTo>
                <a:cubicBezTo>
                  <a:pt x="1" y="958057"/>
                  <a:pt x="0" y="958057"/>
                  <a:pt x="0" y="958056"/>
                </a:cubicBezTo>
                <a:close/>
              </a:path>
            </a:pathLst>
          </a:custGeom>
          <a:solidFill>
            <a:schemeClr val="tx1">
              <a:lumMod val="50000"/>
              <a:lumOff val="50000"/>
              <a:alpha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335218" tIns="335218" rIns="335218" bIns="335218" numCol="1" spcCol="1270" anchor="ctr" anchorCtr="0">
            <a:noAutofit/>
          </a:bodyPr>
          <a:lstStyle/>
          <a:p>
            <a:pPr lvl="0" algn="ctr" defTabSz="1911350">
              <a:lnSpc>
                <a:spcPct val="90000"/>
              </a:lnSpc>
              <a:spcBef>
                <a:spcPct val="0"/>
              </a:spcBef>
              <a:spcAft>
                <a:spcPct val="35000"/>
              </a:spcAft>
            </a:pPr>
            <a:r>
              <a:rPr lang="en-US" sz="2800" b="1" kern="1200" dirty="0"/>
              <a:t>Workshop Content</a:t>
            </a:r>
          </a:p>
        </p:txBody>
      </p:sp>
    </p:spTree>
    <p:custDataLst>
      <p:tags r:id="rId1"/>
    </p:custDataLst>
    <p:extLst>
      <p:ext uri="{BB962C8B-B14F-4D97-AF65-F5344CB8AC3E}">
        <p14:creationId xmlns:p14="http://schemas.microsoft.com/office/powerpoint/2010/main" val="2416391245"/>
      </p:ext>
    </p:extLst>
  </p:cSld>
  <p:clrMapOvr>
    <a:masterClrMapping/>
  </p:clrMapOvr>
  <p:transition spd="slow">
    <p:rand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cont.png"/>
          <p:cNvPicPr>
            <a:picLocks noChangeAspect="1"/>
          </p:cNvPicPr>
          <p:nvPr/>
        </p:nvPicPr>
        <p:blipFill>
          <a:blip r:embed="rId4"/>
          <a:stretch>
            <a:fillRect/>
          </a:stretch>
        </p:blipFill>
        <p:spPr>
          <a:xfrm>
            <a:off x="-50800" y="1524000"/>
            <a:ext cx="8407400" cy="7481641"/>
          </a:xfrm>
          <a:prstGeom prst="rect">
            <a:avLst/>
          </a:prstGeom>
        </p:spPr>
      </p:pic>
      <p:grpSp>
        <p:nvGrpSpPr>
          <p:cNvPr id="61" name="Group 60"/>
          <p:cNvGrpSpPr/>
          <p:nvPr/>
        </p:nvGrpSpPr>
        <p:grpSpPr>
          <a:xfrm>
            <a:off x="2616200" y="5979575"/>
            <a:ext cx="632486" cy="1203337"/>
            <a:chOff x="2616200" y="5979575"/>
            <a:chExt cx="632486" cy="1203337"/>
          </a:xfrm>
        </p:grpSpPr>
        <p:sp>
          <p:nvSpPr>
            <p:cNvPr id="28" name="Freeform 27"/>
            <p:cNvSpPr/>
            <p:nvPr/>
          </p:nvSpPr>
          <p:spPr bwMode="auto">
            <a:xfrm flipH="1">
              <a:off x="3149600" y="7086600"/>
              <a:ext cx="99086"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9" name="Freeform 28"/>
            <p:cNvSpPr/>
            <p:nvPr/>
          </p:nvSpPr>
          <p:spPr bwMode="auto">
            <a:xfrm flipH="1">
              <a:off x="2616200" y="5979575"/>
              <a:ext cx="99086"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403882"/>
            <a:ext cx="3530600" cy="5732645"/>
          </a:xfrm>
          <a:prstGeom prst="rect">
            <a:avLst/>
          </a:prstGeom>
          <a:noFill/>
        </p:spPr>
        <p:txBody>
          <a:bodyPr wrap="square" lIns="129844" tIns="64922" rIns="129844" bIns="64922" rtlCol="0">
            <a:spAutoFit/>
          </a:bodyPr>
          <a:lstStyle/>
          <a:p>
            <a:pPr algn="l"/>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Draw the Continuum on the Notes page (last page in your workbook). Plot as many people as you can think of:  past and present</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0"/>
            <a:ext cx="9169400" cy="1819275"/>
          </a:xfrm>
        </p:spPr>
        <p:txBody>
          <a:bodyPr>
            <a:noAutofit/>
          </a:bodyPr>
          <a:lstStyle/>
          <a:p>
            <a:r>
              <a:rPr lang="en-US" sz="48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Where I see others:  </a:t>
            </a:r>
            <a:br>
              <a:rPr lang="en-US" sz="4800" b="1" kern="1200" dirty="0">
                <a:solidFill>
                  <a:schemeClr val="tx1">
                    <a:lumMod val="65000"/>
                    <a:lumOff val="35000"/>
                  </a:schemeClr>
                </a:solidFill>
                <a:latin typeface="Leelawadee" panose="020B0502040204020203" pitchFamily="34" charset="-34"/>
                <a:ea typeface="ヒラギノ角ゴ ProN W3" charset="0"/>
                <a:cs typeface="Leelawadee" panose="020B0502040204020203" pitchFamily="34" charset="-34"/>
                <a:sym typeface="Gill Sans" charset="0"/>
              </a:rPr>
            </a:br>
            <a:r>
              <a:rPr lang="en-US" sz="32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Applying your experience to the Continuum</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5"/>
          <a:stretch>
            <a:fillRect/>
          </a:stretch>
        </p:blipFill>
        <p:spPr bwMode="auto">
          <a:xfrm>
            <a:off x="10836275" y="5400675"/>
            <a:ext cx="923925" cy="923925"/>
          </a:xfrm>
          <a:prstGeom prst="rect">
            <a:avLst/>
          </a:prstGeom>
          <a:noFill/>
          <a:ln>
            <a:noFill/>
          </a:ln>
        </p:spPr>
      </p:pic>
      <p:grpSp>
        <p:nvGrpSpPr>
          <p:cNvPr id="59" name="Group 58"/>
          <p:cNvGrpSpPr/>
          <p:nvPr/>
        </p:nvGrpSpPr>
        <p:grpSpPr>
          <a:xfrm>
            <a:off x="5300353" y="3429000"/>
            <a:ext cx="1177991" cy="1905000"/>
            <a:chOff x="5300353" y="3429000"/>
            <a:chExt cx="1177991" cy="1905000"/>
          </a:xfrm>
        </p:grpSpPr>
        <p:sp>
          <p:nvSpPr>
            <p:cNvPr id="9" name="Freeform 8"/>
            <p:cNvSpPr/>
            <p:nvPr/>
          </p:nvSpPr>
          <p:spPr bwMode="auto">
            <a:xfrm>
              <a:off x="5300353" y="4667321"/>
              <a:ext cx="138564" cy="11007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Freeform 19"/>
            <p:cNvSpPr/>
            <p:nvPr/>
          </p:nvSpPr>
          <p:spPr bwMode="auto">
            <a:xfrm flipH="1">
              <a:off x="6181084" y="5141375"/>
              <a:ext cx="297260"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1" name="Freeform 20"/>
            <p:cNvSpPr/>
            <p:nvPr/>
          </p:nvSpPr>
          <p:spPr bwMode="auto">
            <a:xfrm flipH="1">
              <a:off x="5740400" y="3429000"/>
              <a:ext cx="495431"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9" name="Freeform 48"/>
            <p:cNvSpPr/>
            <p:nvPr/>
          </p:nvSpPr>
          <p:spPr bwMode="auto">
            <a:xfrm flipV="1">
              <a:off x="6121400" y="44196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58" name="Group 57"/>
          <p:cNvGrpSpPr/>
          <p:nvPr/>
        </p:nvGrpSpPr>
        <p:grpSpPr>
          <a:xfrm>
            <a:off x="1701800" y="3124200"/>
            <a:ext cx="3213552" cy="1864743"/>
            <a:chOff x="1701800" y="3124200"/>
            <a:chExt cx="3213552" cy="1864743"/>
          </a:xfrm>
        </p:grpSpPr>
        <p:sp>
          <p:nvSpPr>
            <p:cNvPr id="15" name="Freeform 14"/>
            <p:cNvSpPr/>
            <p:nvPr/>
          </p:nvSpPr>
          <p:spPr bwMode="auto">
            <a:xfrm flipH="1">
              <a:off x="3378200" y="37338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Freeform 15"/>
            <p:cNvSpPr/>
            <p:nvPr/>
          </p:nvSpPr>
          <p:spPr bwMode="auto">
            <a:xfrm flipH="1">
              <a:off x="2387600" y="4419600"/>
              <a:ext cx="297259"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6" name="Freeform 25"/>
            <p:cNvSpPr/>
            <p:nvPr/>
          </p:nvSpPr>
          <p:spPr bwMode="auto">
            <a:xfrm flipH="1">
              <a:off x="2387600" y="31242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sp>
          <p:nvSpPr>
            <p:cNvPr id="27" name="Freeform 26"/>
            <p:cNvSpPr/>
            <p:nvPr/>
          </p:nvSpPr>
          <p:spPr bwMode="auto">
            <a:xfrm flipH="1" flipV="1">
              <a:off x="4521200" y="3429000"/>
              <a:ext cx="297259"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Freeform 30"/>
            <p:cNvSpPr/>
            <p:nvPr/>
          </p:nvSpPr>
          <p:spPr bwMode="auto">
            <a:xfrm flipV="1">
              <a:off x="47437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2" name="Freeform 31"/>
            <p:cNvSpPr/>
            <p:nvPr/>
          </p:nvSpPr>
          <p:spPr bwMode="auto">
            <a:xfrm flipV="1">
              <a:off x="42865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2" name="Freeform 51"/>
            <p:cNvSpPr/>
            <p:nvPr/>
          </p:nvSpPr>
          <p:spPr bwMode="auto">
            <a:xfrm flipV="1">
              <a:off x="1701800" y="37338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60" name="Group 59"/>
          <p:cNvGrpSpPr/>
          <p:nvPr/>
        </p:nvGrpSpPr>
        <p:grpSpPr>
          <a:xfrm>
            <a:off x="4438960" y="5791200"/>
            <a:ext cx="2539832" cy="1135595"/>
            <a:chOff x="4438960" y="5791200"/>
            <a:chExt cx="2539832" cy="1135595"/>
          </a:xfrm>
        </p:grpSpPr>
        <p:sp>
          <p:nvSpPr>
            <p:cNvPr id="14" name="Freeform 13"/>
            <p:cNvSpPr/>
            <p:nvPr/>
          </p:nvSpPr>
          <p:spPr bwMode="auto">
            <a:xfrm flipV="1">
              <a:off x="4438960" y="58345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Freeform 17"/>
            <p:cNvSpPr/>
            <p:nvPr/>
          </p:nvSpPr>
          <p:spPr bwMode="auto">
            <a:xfrm flipH="1" flipV="1">
              <a:off x="5740400" y="6477000"/>
              <a:ext cx="198176"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Freeform 29"/>
            <p:cNvSpPr/>
            <p:nvPr/>
          </p:nvSpPr>
          <p:spPr bwMode="auto">
            <a:xfrm flipH="1">
              <a:off x="6350000" y="6629400"/>
              <a:ext cx="99086" cy="15240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0" name="Freeform 49"/>
            <p:cNvSpPr/>
            <p:nvPr/>
          </p:nvSpPr>
          <p:spPr bwMode="auto">
            <a:xfrm flipV="1">
              <a:off x="6807200" y="68580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1" name="Freeform 50"/>
            <p:cNvSpPr/>
            <p:nvPr/>
          </p:nvSpPr>
          <p:spPr bwMode="auto">
            <a:xfrm flipV="1">
              <a:off x="4826000" y="65532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54" name="Straight Arrow Connector 53"/>
            <p:cNvCxnSpPr>
              <a:stCxn id="50" idx="0"/>
            </p:cNvCxnSpPr>
            <p:nvPr/>
          </p:nvCxnSpPr>
          <p:spPr bwMode="auto">
            <a:xfrm flipH="1" flipV="1">
              <a:off x="6959600" y="6324600"/>
              <a:ext cx="19192" cy="5334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6" name="Straight Arrow Connector 55"/>
            <p:cNvCxnSpPr>
              <a:stCxn id="51" idx="0"/>
            </p:cNvCxnSpPr>
            <p:nvPr/>
          </p:nvCxnSpPr>
          <p:spPr bwMode="auto">
            <a:xfrm flipH="1" flipV="1">
              <a:off x="4978400" y="5791200"/>
              <a:ext cx="19192" cy="7620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Page 26</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grpSp>
        <p:nvGrpSpPr>
          <p:cNvPr id="45" name="Group 44">
            <a:extLst>
              <a:ext uri="{FF2B5EF4-FFF2-40B4-BE49-F238E27FC236}">
                <a16:creationId xmlns:a16="http://schemas.microsoft.com/office/drawing/2014/main" id="{AFE3CE2D-36C3-4AF4-A471-1CA78E6A4129}"/>
              </a:ext>
            </a:extLst>
          </p:cNvPr>
          <p:cNvGrpSpPr/>
          <p:nvPr/>
        </p:nvGrpSpPr>
        <p:grpSpPr>
          <a:xfrm>
            <a:off x="9855200" y="9001780"/>
            <a:ext cx="2717800" cy="675620"/>
            <a:chOff x="11150600" y="7086600"/>
            <a:chExt cx="1270000" cy="675620"/>
          </a:xfrm>
        </p:grpSpPr>
        <p:pic>
          <p:nvPicPr>
            <p:cNvPr id="55" name="Picture 2">
              <a:extLst>
                <a:ext uri="{FF2B5EF4-FFF2-40B4-BE49-F238E27FC236}">
                  <a16:creationId xmlns:a16="http://schemas.microsoft.com/office/drawing/2014/main" id="{D103D0B9-681D-45E1-8057-91C113FE0CC7}"/>
                </a:ext>
              </a:extLst>
            </p:cNvPr>
            <p:cNvPicPr>
              <a:picLocks noChangeAspect="1" noChangeArrowheads="1"/>
            </p:cNvPicPr>
            <p:nvPr/>
          </p:nvPicPr>
          <p:blipFill>
            <a:blip r:embed="rId6"/>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3" name="TextBox 62">
              <a:extLst>
                <a:ext uri="{FF2B5EF4-FFF2-40B4-BE49-F238E27FC236}">
                  <a16:creationId xmlns:a16="http://schemas.microsoft.com/office/drawing/2014/main" id="{E125B1B2-AD5D-49CB-88D8-02C216CB1410}"/>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27</a:t>
              </a:r>
            </a:p>
          </p:txBody>
        </p:sp>
      </p:grpSp>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dissolve">
                                      <p:cBhvr>
                                        <p:cTn id="11" dur="500"/>
                                        <p:tgtEl>
                                          <p:spTgt spid="58"/>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dissolve">
                                      <p:cBhvr>
                                        <p:cTn id="15" dur="500"/>
                                        <p:tgtEl>
                                          <p:spTgt spid="60"/>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dissolve">
                                      <p:cBhvr>
                                        <p:cTn id="19"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71628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906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1066800"/>
            <a:ext cx="3530600" cy="5301758"/>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Pair up with another participant and take turns explaining your thinking behind your plotting (choose 2 -3 plots per person to explain)</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542925"/>
            <a:ext cx="9169400" cy="1819275"/>
          </a:xfrm>
        </p:spPr>
        <p:txBody>
          <a:bodyPr>
            <a:noAutofit/>
          </a:bodyPr>
          <a:lstStyle/>
          <a:p>
            <a:r>
              <a:rPr lang="en-US" sz="32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Connect with another workshop participant and </a:t>
            </a:r>
            <a:r>
              <a:rPr lang="en-US" sz="5400" b="1"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explain your thinking…</a:t>
            </a:r>
          </a:p>
        </p:txBody>
      </p:sp>
      <p:sp>
        <p:nvSpPr>
          <p:cNvPr id="46" name="Rectangle 45"/>
          <p:cNvSpPr/>
          <p:nvPr/>
        </p:nvSpPr>
        <p:spPr bwMode="auto">
          <a:xfrm>
            <a:off x="10769600" y="6858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4864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4198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10-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1" name="Picture 3" descr="Image result for clock icon"/>
          <p:cNvPicPr>
            <a:picLocks noChangeAspect="1" noChangeArrowheads="1"/>
          </p:cNvPicPr>
          <p:nvPr/>
        </p:nvPicPr>
        <p:blipFill>
          <a:blip r:embed="rId4"/>
          <a:stretch>
            <a:fillRect/>
          </a:stretch>
        </p:blipFill>
        <p:spPr bwMode="auto">
          <a:xfrm>
            <a:off x="10836275" y="5553075"/>
            <a:ext cx="923925" cy="923925"/>
          </a:xfrm>
          <a:prstGeom prst="rect">
            <a:avLst/>
          </a:prstGeom>
          <a:noFill/>
          <a:ln>
            <a:noFill/>
          </a:ln>
        </p:spPr>
      </p:pic>
      <p:pic>
        <p:nvPicPr>
          <p:cNvPr id="1027" name="Picture 3"/>
          <p:cNvPicPr>
            <a:picLocks noChangeAspect="1" noChangeArrowheads="1"/>
          </p:cNvPicPr>
          <p:nvPr/>
        </p:nvPicPr>
        <p:blipFill>
          <a:blip r:embed="rId5"/>
          <a:srcRect/>
          <a:stretch>
            <a:fillRect/>
          </a:stretch>
        </p:blipFill>
        <p:spPr bwMode="auto">
          <a:xfrm>
            <a:off x="1016000" y="2286000"/>
            <a:ext cx="7656527" cy="6601680"/>
          </a:xfrm>
          <a:prstGeom prst="rect">
            <a:avLst/>
          </a:prstGeom>
          <a:noFill/>
          <a:ln w="9525">
            <a:noFill/>
            <a:miter lim="800000"/>
            <a:headEnd/>
            <a:tailEnd/>
          </a:ln>
        </p:spPr>
      </p:pic>
      <p:sp>
        <p:nvSpPr>
          <p:cNvPr id="20" name="Rectangle 19"/>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Tree>
    <p:custDataLst>
      <p:tags r:id="rId1"/>
    </p:custDataLst>
    <p:extLst>
      <p:ext uri="{BB962C8B-B14F-4D97-AF65-F5344CB8AC3E}">
        <p14:creationId xmlns:p14="http://schemas.microsoft.com/office/powerpoint/2010/main" val="28989069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8845550" y="6705600"/>
            <a:ext cx="1428750" cy="369332"/>
          </a:xfrm>
          <a:prstGeom prst="rect">
            <a:avLst/>
          </a:prstGeom>
          <a:solidFill>
            <a:schemeClr val="bg1"/>
          </a:solidFill>
        </p:spPr>
        <p:txBody>
          <a:bodyPr wrap="square" rtlCol="0">
            <a:spAutoFit/>
          </a:bodyPr>
          <a:lstStyle/>
          <a:p>
            <a:pPr algn="l" defTabSz="685797">
              <a:defRPr/>
            </a:pPr>
            <a:r>
              <a:rPr lang="en-US" sz="1800" dirty="0">
                <a:latin typeface="Calibri" pitchFamily="34" charset="0"/>
                <a:ea typeface="+mn-ea"/>
                <a:cs typeface="+mn-cs"/>
              </a:rPr>
              <a:t>    </a:t>
            </a:r>
            <a:r>
              <a:rPr lang="en-US" sz="1800" b="1" dirty="0">
                <a:solidFill>
                  <a:srgbClr val="92D050"/>
                </a:solidFill>
                <a:latin typeface="Calibri" pitchFamily="34" charset="0"/>
                <a:ea typeface="+mn-ea"/>
                <a:cs typeface="+mn-cs"/>
              </a:rPr>
              <a:t>On-Target</a:t>
            </a:r>
            <a:r>
              <a:rPr lang="en-US" sz="1350" b="1" dirty="0">
                <a:solidFill>
                  <a:srgbClr val="92D050"/>
                </a:solidFill>
                <a:latin typeface="Calibri" pitchFamily="34" charset="0"/>
                <a:ea typeface="+mn-ea"/>
                <a:cs typeface="+mn-cs"/>
              </a:rPr>
              <a:t> </a:t>
            </a:r>
            <a:endParaRPr lang="en-US" sz="2100" b="1" dirty="0">
              <a:solidFill>
                <a:srgbClr val="92D050"/>
              </a:solidFill>
              <a:latin typeface="Calibri" pitchFamily="34" charset="0"/>
              <a:ea typeface="+mn-ea"/>
              <a:cs typeface="+mn-cs"/>
            </a:endParaRPr>
          </a:p>
        </p:txBody>
      </p:sp>
      <p:cxnSp>
        <p:nvCxnSpPr>
          <p:cNvPr id="6" name="Straight Connector 5"/>
          <p:cNvCxnSpPr>
            <a:stCxn id="4" idx="0"/>
            <a:endCxn id="4" idx="2"/>
          </p:cNvCxnSpPr>
          <p:nvPr/>
        </p:nvCxnSpPr>
        <p:spPr bwMode="auto">
          <a:xfrm>
            <a:off x="6447449" y="2308399"/>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3040449" y="5216910"/>
            <a:ext cx="1600201" cy="300082"/>
          </a:xfrm>
          <a:prstGeom prst="rect">
            <a:avLst/>
          </a:prstGeom>
          <a:noFill/>
        </p:spPr>
        <p:txBody>
          <a:bodyPr wrap="square" rtlCol="0">
            <a:spAutoFit/>
          </a:bodyPr>
          <a:lstStyle/>
          <a:p>
            <a:pPr algn="l" defTabSz="685797">
              <a:defRPr/>
            </a:pPr>
            <a:r>
              <a:rPr lang="en-US" sz="1350" dirty="0">
                <a:latin typeface="Calibri" pitchFamily="34" charset="0"/>
                <a:ea typeface="+mn-ea"/>
                <a:cs typeface="+mn-cs"/>
              </a:rPr>
              <a:t>  </a:t>
            </a:r>
            <a:endParaRPr lang="en-US" sz="1350" b="1" dirty="0">
              <a:solidFill>
                <a:srgbClr val="009999"/>
              </a:solidFill>
              <a:latin typeface="Calibri" pitchFamily="34" charset="0"/>
              <a:ea typeface="+mn-ea"/>
              <a:cs typeface="+mn-cs"/>
            </a:endParaRPr>
          </a:p>
        </p:txBody>
      </p:sp>
      <p:sp>
        <p:nvSpPr>
          <p:cNvPr id="35" name="TextBox 34"/>
          <p:cNvSpPr txBox="1"/>
          <p:nvPr/>
        </p:nvSpPr>
        <p:spPr>
          <a:xfrm rot="16200000">
            <a:off x="2483957" y="4977768"/>
            <a:ext cx="2736271" cy="369332"/>
          </a:xfrm>
          <a:prstGeom prst="rect">
            <a:avLst/>
          </a:prstGeom>
          <a:noFill/>
        </p:spPr>
        <p:txBody>
          <a:bodyPr wrap="square" rtlCol="0">
            <a:spAutoFit/>
          </a:bodyPr>
          <a:lstStyle/>
          <a:p>
            <a:pPr algn="l" defTabSz="685797">
              <a:defRPr/>
            </a:pPr>
            <a:r>
              <a:rPr lang="en-US" sz="1800" b="1" dirty="0">
                <a:solidFill>
                  <a:srgbClr val="336699"/>
                </a:solidFill>
                <a:latin typeface="Calibri" pitchFamily="34" charset="0"/>
                <a:ea typeface="+mn-ea"/>
                <a:cs typeface="+mn-cs"/>
              </a:rPr>
              <a:t>Grow</a:t>
            </a:r>
          </a:p>
        </p:txBody>
      </p:sp>
      <p:cxnSp>
        <p:nvCxnSpPr>
          <p:cNvPr id="28" name="Straight Connector 27"/>
          <p:cNvCxnSpPr>
            <a:stCxn id="22" idx="1"/>
            <a:endCxn id="22" idx="1"/>
          </p:cNvCxnSpPr>
          <p:nvPr/>
        </p:nvCxnSpPr>
        <p:spPr bwMode="auto">
          <a:xfrm>
            <a:off x="3840550" y="4566851"/>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3840550" y="4566851"/>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3840550" y="4566851"/>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2273301" y="3965747"/>
            <a:ext cx="1314450" cy="8001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18" name="TextBox 17"/>
            <p:cNvSpPr txBox="1"/>
            <p:nvPr/>
          </p:nvSpPr>
          <p:spPr>
            <a:xfrm>
              <a:off x="1016000" y="3846493"/>
              <a:ext cx="1600200" cy="984885"/>
            </a:xfrm>
            <a:prstGeom prst="rect">
              <a:avLst/>
            </a:prstGeom>
            <a:noFill/>
            <a:ln>
              <a:noFill/>
            </a:ln>
          </p:spPr>
          <p:txBody>
            <a:bodyPr wrap="square" rtlCol="0">
              <a:spAutoFit/>
            </a:bodyPr>
            <a:lstStyle/>
            <a:p>
              <a:pPr defTabSz="685797">
                <a:defRPr/>
              </a:pPr>
              <a:r>
                <a:rPr lang="en-US" sz="2100" dirty="0">
                  <a:latin typeface="Calibri" pitchFamily="34" charset="0"/>
                  <a:ea typeface="+mn-ea"/>
                  <a:cs typeface="+mn-cs"/>
                </a:rPr>
                <a:t> </a:t>
              </a:r>
              <a:r>
                <a:rPr lang="en-US" sz="2100" b="1" dirty="0">
                  <a:solidFill>
                    <a:srgbClr val="FFFFFF"/>
                  </a:solidFill>
                  <a:latin typeface="Calibri" pitchFamily="34" charset="0"/>
                  <a:ea typeface="+mn-ea"/>
                  <a:cs typeface="+mn-cs"/>
                </a:rPr>
                <a:t>Work </a:t>
              </a:r>
              <a:br>
                <a:rPr lang="en-US" sz="2100" b="1" dirty="0">
                  <a:solidFill>
                    <a:srgbClr val="FFFFFF"/>
                  </a:solidFill>
                  <a:latin typeface="Calibri" pitchFamily="34" charset="0"/>
                  <a:ea typeface="+mn-ea"/>
                  <a:cs typeface="+mn-cs"/>
                </a:rPr>
              </a:br>
              <a:r>
                <a:rPr lang="en-US" sz="2100" b="1" dirty="0">
                  <a:solidFill>
                    <a:srgbClr val="FFFFFF"/>
                  </a:solidFill>
                  <a:latin typeface="Calibri" pitchFamily="34" charset="0"/>
                  <a:ea typeface="+mn-ea"/>
                  <a:cs typeface="+mn-cs"/>
                </a:rPr>
                <a:t>Results </a:t>
              </a:r>
            </a:p>
          </p:txBody>
        </p:sp>
      </p:grpSp>
      <p:sp>
        <p:nvSpPr>
          <p:cNvPr id="20" name="TextBox 19"/>
          <p:cNvSpPr txBox="1"/>
          <p:nvPr/>
        </p:nvSpPr>
        <p:spPr>
          <a:xfrm>
            <a:off x="1835150" y="4811458"/>
            <a:ext cx="2038350" cy="923330"/>
          </a:xfrm>
          <a:prstGeom prst="rect">
            <a:avLst/>
          </a:prstGeom>
          <a:noFill/>
        </p:spPr>
        <p:txBody>
          <a:bodyPr vert="horz" wrap="square" rtlCol="0" anchor="ctr" anchorCtr="1">
            <a:spAutoFit/>
          </a:bodyPr>
          <a:lstStyle/>
          <a:p>
            <a:pPr algn="l" defTabSz="685797">
              <a:defRPr/>
            </a:pPr>
            <a:r>
              <a:rPr lang="en-US" sz="1800" dirty="0">
                <a:solidFill>
                  <a:srgbClr val="FF9900"/>
                </a:solidFill>
                <a:latin typeface="Calibri" pitchFamily="34" charset="0"/>
                <a:ea typeface="Adobe Fan Heiti Std B" pitchFamily="34" charset="-128"/>
                <a:cs typeface="+mn-cs"/>
              </a:rPr>
              <a:t>Job Responsibilities</a:t>
            </a:r>
          </a:p>
          <a:p>
            <a:pPr algn="l" defTabSz="685797">
              <a:defRPr/>
            </a:pPr>
            <a:r>
              <a:rPr lang="en-US" sz="1800" dirty="0">
                <a:solidFill>
                  <a:srgbClr val="6EA92D"/>
                </a:solidFill>
                <a:latin typeface="Calibri" pitchFamily="34" charset="0"/>
                <a:ea typeface="Adobe Fan Heiti Std B" pitchFamily="34" charset="-128"/>
                <a:cs typeface="+mn-cs"/>
              </a:rPr>
              <a:t>Goals</a:t>
            </a:r>
          </a:p>
          <a:p>
            <a:pPr algn="l" defTabSz="685797">
              <a:defRPr/>
            </a:pPr>
            <a:r>
              <a:rPr lang="en-US" sz="1800" dirty="0">
                <a:solidFill>
                  <a:srgbClr val="008C82"/>
                </a:solidFill>
                <a:latin typeface="Calibri" pitchFamily="34" charset="0"/>
                <a:ea typeface="Adobe Fan Heiti Std B" pitchFamily="34" charset="-128"/>
                <a:cs typeface="+mn-cs"/>
              </a:rPr>
              <a:t>Skills</a:t>
            </a:r>
          </a:p>
        </p:txBody>
      </p:sp>
      <p:sp>
        <p:nvSpPr>
          <p:cNvPr id="62" name="Title 3"/>
          <p:cNvSpPr>
            <a:spLocks noGrp="1"/>
          </p:cNvSpPr>
          <p:nvPr>
            <p:ph type="title"/>
          </p:nvPr>
        </p:nvSpPr>
        <p:spPr>
          <a:xfrm>
            <a:off x="1701802" y="1333500"/>
            <a:ext cx="9677398" cy="1364457"/>
          </a:xfrm>
        </p:spPr>
        <p:txBody>
          <a:bodyPr>
            <a:noAutofit/>
          </a:bodyPr>
          <a:lstStyle/>
          <a:p>
            <a:pPr>
              <a:spcBef>
                <a:spcPts val="825"/>
              </a:spcBef>
            </a:pPr>
            <a:r>
              <a:rPr lang="en-US" sz="3300" b="1" dirty="0">
                <a:solidFill>
                  <a:srgbClr val="008C82"/>
                </a:solidFill>
                <a:latin typeface="Adobe Fan Heiti Std B" pitchFamily="34" charset="-128"/>
                <a:ea typeface="Adobe Fan Heiti Std B" pitchFamily="34" charset="-128"/>
                <a:cs typeface="Leelawadee" pitchFamily="34" charset="-34"/>
                <a:sym typeface="Gill Sans" charset="0"/>
              </a:rPr>
              <a:t>#1 Use for the Model is to:</a:t>
            </a:r>
            <a:endParaRPr lang="en-US" sz="3300" b="1" dirty="0">
              <a:solidFill>
                <a:srgbClr val="0070C0"/>
              </a:solidFill>
              <a:latin typeface="Adobe Fan Heiti Std B" pitchFamily="34" charset="-128"/>
              <a:ea typeface="Adobe Fan Heiti Std B" pitchFamily="34" charset="-128"/>
              <a:cs typeface="Leelawadee" pitchFamily="34" charset="-34"/>
              <a:sym typeface="Gill Sans" charset="0"/>
            </a:endParaRPr>
          </a:p>
        </p:txBody>
      </p:sp>
      <p:sp>
        <p:nvSpPr>
          <p:cNvPr id="76" name="TextBox 75"/>
          <p:cNvSpPr txBox="1"/>
          <p:nvPr/>
        </p:nvSpPr>
        <p:spPr>
          <a:xfrm>
            <a:off x="3038182" y="6642951"/>
            <a:ext cx="1371600" cy="276999"/>
          </a:xfrm>
          <a:prstGeom prst="rect">
            <a:avLst/>
          </a:prstGeom>
          <a:solidFill>
            <a:schemeClr val="bg1"/>
          </a:solidFill>
        </p:spPr>
        <p:txBody>
          <a:bodyPr wrap="square" lIns="0" tIns="0" rIns="0" bIns="0" rtlCol="0">
            <a:spAutoFit/>
          </a:bodyPr>
          <a:lstStyle/>
          <a:p>
            <a:pPr algn="l" defTabSz="685797">
              <a:defRPr/>
            </a:pPr>
            <a:r>
              <a:rPr lang="en-US" sz="1800" dirty="0">
                <a:solidFill>
                  <a:srgbClr val="336699"/>
                </a:solidFill>
                <a:latin typeface="Calibri" pitchFamily="34" charset="0"/>
                <a:ea typeface="+mn-ea"/>
                <a:cs typeface="+mn-cs"/>
              </a:rPr>
              <a:t>    </a:t>
            </a:r>
            <a:r>
              <a:rPr lang="en-US" sz="1800" b="1" dirty="0">
                <a:solidFill>
                  <a:srgbClr val="336699"/>
                </a:solidFill>
                <a:latin typeface="Calibri" pitchFamily="34" charset="0"/>
                <a:ea typeface="+mn-ea"/>
                <a:cs typeface="+mn-cs"/>
              </a:rPr>
              <a:t>Off-Target</a:t>
            </a:r>
            <a:r>
              <a:rPr lang="en-US" sz="1350" b="1" dirty="0">
                <a:solidFill>
                  <a:srgbClr val="336699"/>
                </a:solidFill>
                <a:latin typeface="Calibri" pitchFamily="34" charset="0"/>
                <a:ea typeface="+mn-ea"/>
                <a:cs typeface="+mn-cs"/>
              </a:rPr>
              <a:t> </a:t>
            </a:r>
            <a:endParaRPr lang="en-US" sz="2100" b="1" dirty="0">
              <a:solidFill>
                <a:srgbClr val="336699"/>
              </a:solidFill>
              <a:latin typeface="Calibri" pitchFamily="34" charset="0"/>
              <a:ea typeface="+mn-ea"/>
              <a:cs typeface="+mn-cs"/>
            </a:endParaRPr>
          </a:p>
        </p:txBody>
      </p:sp>
      <p:sp>
        <p:nvSpPr>
          <p:cNvPr id="19" name="TextBox 18"/>
          <p:cNvSpPr txBox="1"/>
          <p:nvPr/>
        </p:nvSpPr>
        <p:spPr>
          <a:xfrm>
            <a:off x="3416301" y="1905001"/>
            <a:ext cx="1143001" cy="369332"/>
          </a:xfrm>
          <a:prstGeom prst="rect">
            <a:avLst/>
          </a:prstGeom>
          <a:solidFill>
            <a:schemeClr val="bg1"/>
          </a:solidFill>
        </p:spPr>
        <p:txBody>
          <a:bodyPr wrap="square" rtlCol="0">
            <a:spAutoFit/>
          </a:bodyPr>
          <a:lstStyle/>
          <a:p>
            <a:pPr algn="l" defTabSz="685797">
              <a:defRPr/>
            </a:pPr>
            <a:r>
              <a:rPr lang="en-US" sz="1800" b="1" dirty="0">
                <a:solidFill>
                  <a:srgbClr val="92D050"/>
                </a:solidFill>
                <a:latin typeface="Calibri" pitchFamily="34" charset="0"/>
                <a:ea typeface="+mn-ea"/>
                <a:cs typeface="+mn-cs"/>
              </a:rPr>
              <a:t>On-Target</a:t>
            </a:r>
            <a:endParaRPr lang="en-US" sz="2100" b="1" dirty="0">
              <a:solidFill>
                <a:srgbClr val="92D050"/>
              </a:solidFill>
              <a:latin typeface="Calibri" pitchFamily="34" charset="0"/>
              <a:ea typeface="+mn-ea"/>
              <a:cs typeface="+mn-cs"/>
            </a:endParaRPr>
          </a:p>
        </p:txBody>
      </p:sp>
      <p:grpSp>
        <p:nvGrpSpPr>
          <p:cNvPr id="10" name="Group 71"/>
          <p:cNvGrpSpPr/>
          <p:nvPr/>
        </p:nvGrpSpPr>
        <p:grpSpPr>
          <a:xfrm>
            <a:off x="4902200" y="7051853"/>
            <a:ext cx="3086100" cy="400051"/>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71" name="TextBox 70"/>
            <p:cNvSpPr txBox="1"/>
            <p:nvPr/>
          </p:nvSpPr>
          <p:spPr>
            <a:xfrm>
              <a:off x="787400" y="7905749"/>
              <a:ext cx="1600200" cy="923329"/>
            </a:xfrm>
            <a:prstGeom prst="rect">
              <a:avLst/>
            </a:prstGeom>
            <a:noFill/>
            <a:ln>
              <a:noFill/>
            </a:ln>
          </p:spPr>
          <p:txBody>
            <a:bodyPr wrap="square" rtlCol="0">
              <a:spAutoFit/>
            </a:bodyPr>
            <a:lstStyle/>
            <a:p>
              <a:pPr defTabSz="685797">
                <a:defRPr/>
              </a:pPr>
              <a:r>
                <a:rPr lang="en-US" sz="1650" dirty="0">
                  <a:latin typeface="Calibri" pitchFamily="34" charset="0"/>
                  <a:ea typeface="+mn-ea"/>
                  <a:cs typeface="+mn-cs"/>
                </a:rPr>
                <a:t> </a:t>
              </a:r>
              <a:r>
                <a:rPr lang="en-US" sz="1650" b="1" dirty="0">
                  <a:solidFill>
                    <a:srgbClr val="FFFFFF"/>
                  </a:solidFill>
                  <a:latin typeface="Calibri" pitchFamily="34" charset="0"/>
                  <a:ea typeface="+mn-ea"/>
                  <a:cs typeface="+mn-cs"/>
                </a:rPr>
                <a:t>Observable Behaviors</a:t>
              </a:r>
            </a:p>
          </p:txBody>
        </p:sp>
      </p:grpSp>
      <p:cxnSp>
        <p:nvCxnSpPr>
          <p:cNvPr id="8" name="Straight Connector 7"/>
          <p:cNvCxnSpPr>
            <a:stCxn id="4" idx="1"/>
            <a:endCxn id="4" idx="3"/>
          </p:cNvCxnSpPr>
          <p:nvPr/>
        </p:nvCxnSpPr>
        <p:spPr bwMode="auto">
          <a:xfrm>
            <a:off x="3987801" y="4508674"/>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987801" y="2308399"/>
            <a:ext cx="4919297" cy="440055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dirty="0"/>
          </a:p>
        </p:txBody>
      </p:sp>
      <p:cxnSp>
        <p:nvCxnSpPr>
          <p:cNvPr id="60" name="Straight Connector 59"/>
          <p:cNvCxnSpPr/>
          <p:nvPr/>
        </p:nvCxnSpPr>
        <p:spPr bwMode="auto">
          <a:xfrm>
            <a:off x="6445250" y="2365549"/>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987801" y="4537249"/>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6823249"/>
            <a:ext cx="2514601"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3873500" y="2251250"/>
            <a:ext cx="0" cy="2286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987801" y="4537249"/>
            <a:ext cx="4919297"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3873500" y="4022898"/>
            <a:ext cx="0" cy="17145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47449" y="2308399"/>
            <a:ext cx="0" cy="440055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4444999" y="6823249"/>
            <a:ext cx="2514601"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82668" y="2355056"/>
            <a:ext cx="2382607" cy="2120689"/>
          </a:xfrm>
          <a:prstGeom prst="rect">
            <a:avLst/>
          </a:prstGeom>
          <a:solidFill>
            <a:srgbClr val="92D050"/>
          </a:solidFill>
          <a:ln w="76200" cap="flat" cmpd="sng" algn="ctr">
            <a:solidFill>
              <a:srgbClr val="92D050"/>
            </a:solidFill>
            <a:prstDash val="solid"/>
            <a:round/>
            <a:headEnd type="none" w="med" len="med"/>
            <a:tailEnd type="none" w="med" len="med"/>
          </a:ln>
          <a:effectLst>
            <a:glow rad="228600">
              <a:srgbClr val="92D050">
                <a:alpha val="40000"/>
              </a:srgbClr>
            </a:glow>
            <a:softEdge rad="31750"/>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pic>
        <p:nvPicPr>
          <p:cNvPr id="114" name="Picture 113"/>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03967" y="3486428"/>
            <a:ext cx="292269" cy="479322"/>
          </a:xfrm>
          <a:prstGeom prst="rect">
            <a:avLst/>
          </a:prstGeom>
        </p:spPr>
      </p:pic>
      <p:pic>
        <p:nvPicPr>
          <p:cNvPr id="115" name="Picture 1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49074" y="5554320"/>
            <a:ext cx="292269" cy="479322"/>
          </a:xfrm>
          <a:prstGeom prst="rect">
            <a:avLst/>
          </a:prstGeom>
        </p:spPr>
      </p:pic>
      <p:sp>
        <p:nvSpPr>
          <p:cNvPr id="129" name="Rounded Rectangle 128"/>
          <p:cNvSpPr/>
          <p:nvPr/>
        </p:nvSpPr>
        <p:spPr bwMode="auto">
          <a:xfrm>
            <a:off x="1816100" y="3851449"/>
            <a:ext cx="1943100" cy="2057401"/>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pic>
        <p:nvPicPr>
          <p:cNvPr id="65" name="Picture 64">
            <a:extLst>
              <a:ext uri="{FF2B5EF4-FFF2-40B4-BE49-F238E27FC236}">
                <a16:creationId xmlns:a16="http://schemas.microsoft.com/office/drawing/2014/main" id="{8D8B7212-04B3-43CB-9819-7D52EFD7EDFA}"/>
              </a:ext>
            </a:extLst>
          </p:cNvPr>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80898" y="5497737"/>
            <a:ext cx="292269" cy="479322"/>
          </a:xfrm>
          <a:prstGeom prst="rect">
            <a:avLst/>
          </a:prstGeom>
        </p:spPr>
      </p:pic>
      <p:pic>
        <p:nvPicPr>
          <p:cNvPr id="66" name="Picture 65">
            <a:extLst>
              <a:ext uri="{FF2B5EF4-FFF2-40B4-BE49-F238E27FC236}">
                <a16:creationId xmlns:a16="http://schemas.microsoft.com/office/drawing/2014/main" id="{2C06F8D3-4000-4F71-9631-F699E3842C5F}"/>
              </a:ext>
            </a:extLst>
          </p:cNvPr>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97349" y="3486428"/>
            <a:ext cx="292269" cy="479322"/>
          </a:xfrm>
          <a:prstGeom prst="rect">
            <a:avLst/>
          </a:prstGeom>
        </p:spPr>
      </p:pic>
      <p:sp>
        <p:nvSpPr>
          <p:cNvPr id="67" name="TextBox 66">
            <a:extLst>
              <a:ext uri="{FF2B5EF4-FFF2-40B4-BE49-F238E27FC236}">
                <a16:creationId xmlns:a16="http://schemas.microsoft.com/office/drawing/2014/main" id="{04D28B27-336E-4D8C-B51A-2DD1DD4D735A}"/>
              </a:ext>
            </a:extLst>
          </p:cNvPr>
          <p:cNvSpPr txBox="1"/>
          <p:nvPr/>
        </p:nvSpPr>
        <p:spPr>
          <a:xfrm>
            <a:off x="6564450" y="2889659"/>
            <a:ext cx="2306414" cy="369332"/>
          </a:xfrm>
          <a:prstGeom prst="rect">
            <a:avLst/>
          </a:prstGeom>
          <a:noFill/>
        </p:spPr>
        <p:txBody>
          <a:bodyPr wrap="square" rtlCol="0">
            <a:spAutoFit/>
          </a:bodyPr>
          <a:lstStyle/>
          <a:p>
            <a:pPr algn="l" defTabSz="685797">
              <a:defRPr/>
            </a:pPr>
            <a:r>
              <a:rPr lang="en-US" sz="1800" b="1" dirty="0">
                <a:solidFill>
                  <a:srgbClr val="FFFFFF"/>
                </a:solidFill>
                <a:latin typeface="Calibri" pitchFamily="34" charset="0"/>
                <a:ea typeface="+mn-ea"/>
                <a:cs typeface="+mn-cs"/>
              </a:rPr>
              <a:t>Coach for Growth</a:t>
            </a:r>
            <a:endParaRPr lang="en-US" sz="2100" b="1" dirty="0">
              <a:solidFill>
                <a:srgbClr val="FFFFFF"/>
              </a:solidFill>
              <a:latin typeface="Calibri" pitchFamily="34" charset="0"/>
              <a:ea typeface="+mn-ea"/>
              <a:cs typeface="+mn-cs"/>
            </a:endParaRPr>
          </a:p>
        </p:txBody>
      </p:sp>
      <p:sp>
        <p:nvSpPr>
          <p:cNvPr id="68" name="TextBox 67">
            <a:extLst>
              <a:ext uri="{FF2B5EF4-FFF2-40B4-BE49-F238E27FC236}">
                <a16:creationId xmlns:a16="http://schemas.microsoft.com/office/drawing/2014/main" id="{E06A9A98-1600-4F3C-9A65-4FE44C8D498C}"/>
              </a:ext>
            </a:extLst>
          </p:cNvPr>
          <p:cNvSpPr txBox="1"/>
          <p:nvPr/>
        </p:nvSpPr>
        <p:spPr>
          <a:xfrm>
            <a:off x="6783753" y="5116927"/>
            <a:ext cx="1869515" cy="369332"/>
          </a:xfrm>
          <a:prstGeom prst="rect">
            <a:avLst/>
          </a:prstGeom>
          <a:noFill/>
        </p:spPr>
        <p:txBody>
          <a:bodyPr wrap="square" rtlCol="0">
            <a:spAutoFit/>
          </a:bodyPr>
          <a:lstStyle/>
          <a:p>
            <a:pPr algn="l" defTabSz="685797">
              <a:defRPr/>
            </a:pPr>
            <a:r>
              <a:rPr lang="en-US" sz="1800" b="1" dirty="0">
                <a:solidFill>
                  <a:srgbClr val="FFFFFF"/>
                </a:solidFill>
                <a:latin typeface="Calibri" pitchFamily="34" charset="0"/>
                <a:ea typeface="+mn-ea"/>
                <a:cs typeface="+mn-cs"/>
              </a:rPr>
              <a:t>Coach for Skills</a:t>
            </a:r>
            <a:endParaRPr lang="en-US" sz="2100" b="1" dirty="0">
              <a:solidFill>
                <a:srgbClr val="FFFFFF"/>
              </a:solidFill>
              <a:latin typeface="Calibri" pitchFamily="34" charset="0"/>
              <a:ea typeface="+mn-ea"/>
              <a:cs typeface="+mn-cs"/>
            </a:endParaRPr>
          </a:p>
        </p:txBody>
      </p:sp>
      <p:sp>
        <p:nvSpPr>
          <p:cNvPr id="69" name="TextBox 68">
            <a:extLst>
              <a:ext uri="{FF2B5EF4-FFF2-40B4-BE49-F238E27FC236}">
                <a16:creationId xmlns:a16="http://schemas.microsoft.com/office/drawing/2014/main" id="{D723BE8E-591A-45C5-9CC9-D180861AB66B}"/>
              </a:ext>
            </a:extLst>
          </p:cNvPr>
          <p:cNvSpPr txBox="1"/>
          <p:nvPr/>
        </p:nvSpPr>
        <p:spPr>
          <a:xfrm>
            <a:off x="4270205" y="2923208"/>
            <a:ext cx="2051899" cy="369332"/>
          </a:xfrm>
          <a:prstGeom prst="rect">
            <a:avLst/>
          </a:prstGeom>
          <a:noFill/>
        </p:spPr>
        <p:txBody>
          <a:bodyPr wrap="square" rtlCol="0">
            <a:spAutoFit/>
          </a:bodyPr>
          <a:lstStyle/>
          <a:p>
            <a:pPr algn="l" defTabSz="685797">
              <a:defRPr/>
            </a:pPr>
            <a:r>
              <a:rPr lang="en-US" sz="1800" b="1" dirty="0">
                <a:solidFill>
                  <a:srgbClr val="FFFFFF"/>
                </a:solidFill>
                <a:latin typeface="Calibri" pitchFamily="34" charset="0"/>
                <a:ea typeface="+mn-ea"/>
                <a:cs typeface="+mn-cs"/>
              </a:rPr>
              <a:t>Coach for Behavior</a:t>
            </a:r>
            <a:endParaRPr lang="en-US" sz="2100" b="1" dirty="0">
              <a:solidFill>
                <a:srgbClr val="FFFFFF"/>
              </a:solidFill>
              <a:latin typeface="Calibri" pitchFamily="34" charset="0"/>
              <a:ea typeface="+mn-ea"/>
              <a:cs typeface="+mn-cs"/>
            </a:endParaRPr>
          </a:p>
        </p:txBody>
      </p:sp>
      <p:sp>
        <p:nvSpPr>
          <p:cNvPr id="73" name="TextBox 72">
            <a:extLst>
              <a:ext uri="{FF2B5EF4-FFF2-40B4-BE49-F238E27FC236}">
                <a16:creationId xmlns:a16="http://schemas.microsoft.com/office/drawing/2014/main" id="{5ECD6293-A7A5-42D9-9B6A-CC0AEE3D91C5}"/>
              </a:ext>
            </a:extLst>
          </p:cNvPr>
          <p:cNvSpPr txBox="1"/>
          <p:nvPr/>
        </p:nvSpPr>
        <p:spPr>
          <a:xfrm>
            <a:off x="4393352" y="5122914"/>
            <a:ext cx="2051899" cy="369332"/>
          </a:xfrm>
          <a:prstGeom prst="rect">
            <a:avLst/>
          </a:prstGeom>
          <a:noFill/>
        </p:spPr>
        <p:txBody>
          <a:bodyPr wrap="square" rtlCol="0">
            <a:spAutoFit/>
          </a:bodyPr>
          <a:lstStyle/>
          <a:p>
            <a:pPr algn="l" defTabSz="685797">
              <a:defRPr/>
            </a:pPr>
            <a:r>
              <a:rPr lang="en-US" sz="1800" b="1" dirty="0">
                <a:solidFill>
                  <a:srgbClr val="FFFFFF"/>
                </a:solidFill>
                <a:latin typeface="Calibri" pitchFamily="34" charset="0"/>
                <a:ea typeface="+mn-ea"/>
                <a:cs typeface="+mn-cs"/>
              </a:rPr>
              <a:t>Coach Up or Out</a:t>
            </a:r>
            <a:endParaRPr lang="en-US" sz="2100" b="1" dirty="0">
              <a:solidFill>
                <a:srgbClr val="FFFFFF"/>
              </a:solidFill>
              <a:latin typeface="Calibri" pitchFamily="34" charset="0"/>
              <a:ea typeface="+mn-ea"/>
              <a:cs typeface="+mn-cs"/>
            </a:endParaRPr>
          </a:p>
        </p:txBody>
      </p:sp>
    </p:spTree>
    <p:custDataLst>
      <p:tags r:id="rId1"/>
    </p:custDataLst>
    <p:extLst>
      <p:ext uri="{BB962C8B-B14F-4D97-AF65-F5344CB8AC3E}">
        <p14:creationId xmlns:p14="http://schemas.microsoft.com/office/powerpoint/2010/main" val="671297466"/>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left)">
                                      <p:cBhvr>
                                        <p:cTn id="7" dur="500"/>
                                        <p:tgtEl>
                                          <p:spTgt spid="6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wipe(up)">
                                      <p:cBhvr>
                                        <p:cTn id="12" dur="500"/>
                                        <p:tgtEl>
                                          <p:spTgt spid="6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wipe(left)">
                                      <p:cBhvr>
                                        <p:cTn id="17" dur="500"/>
                                        <p:tgtEl>
                                          <p:spTgt spid="6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73"/>
                                        </p:tgtEl>
                                        <p:attrNameLst>
                                          <p:attrName>style.visibility</p:attrName>
                                        </p:attrNameLst>
                                      </p:cBhvr>
                                      <p:to>
                                        <p:strVal val="visible"/>
                                      </p:to>
                                    </p:set>
                                    <p:animEffect transition="in" filter="wipe(up)">
                                      <p:cBhvr>
                                        <p:cTn id="22"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8" grpId="0"/>
      <p:bldP spid="69" grpId="0"/>
      <p:bldP spid="7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4995" name="Picture 3"/>
          <p:cNvPicPr>
            <a:picLocks noChangeAspect="1" noChangeArrowheads="1"/>
          </p:cNvPicPr>
          <p:nvPr/>
        </p:nvPicPr>
        <p:blipFill>
          <a:blip r:embed="rId4"/>
          <a:srcRect l="29656" b="35090"/>
          <a:stretch>
            <a:fillRect/>
          </a:stretch>
        </p:blipFill>
        <p:spPr bwMode="auto">
          <a:xfrm>
            <a:off x="0" y="766458"/>
            <a:ext cx="9037200" cy="6624942"/>
          </a:xfrm>
          <a:prstGeom prst="rect">
            <a:avLst/>
          </a:prstGeom>
          <a:noFill/>
          <a:ln w="9525">
            <a:noFill/>
            <a:miter lim="800000"/>
            <a:headEnd/>
            <a:tailEnd/>
          </a:ln>
        </p:spPr>
      </p:pic>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5" name="Slide Number Placeholder 14"/>
          <p:cNvSpPr>
            <a:spLocks noGrp="1"/>
          </p:cNvSpPr>
          <p:nvPr>
            <p:ph type="sldNum" sz="quarter" idx="23"/>
          </p:nvPr>
        </p:nvSpPr>
        <p:spPr/>
        <p:txBody>
          <a:bodyPr/>
          <a:lstStyle/>
          <a:p>
            <a:pPr>
              <a:defRPr/>
            </a:pPr>
            <a:fld id="{7C0A6E37-841E-4E23-95AD-DF9C80D768D7}" type="slidenum">
              <a:rPr lang="en-US" smtClean="0">
                <a:solidFill>
                  <a:prstClr val="black"/>
                </a:solidFill>
              </a:rPr>
              <a:pPr>
                <a:defRPr/>
              </a:pPr>
              <a:t>23</a:t>
            </a:fld>
            <a:endParaRPr lang="en-US" dirty="0">
              <a:solidFill>
                <a:prstClr val="black"/>
              </a:solidFill>
            </a:endParaRPr>
          </a:p>
        </p:txBody>
      </p:sp>
      <p:sp>
        <p:nvSpPr>
          <p:cNvPr id="22" name="Rectangle 21"/>
          <p:cNvSpPr/>
          <p:nvPr/>
        </p:nvSpPr>
        <p:spPr>
          <a:xfrm>
            <a:off x="1930400" y="92633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
        <p:nvSpPr>
          <p:cNvPr id="7" name="TextBox 6"/>
          <p:cNvSpPr txBox="1"/>
          <p:nvPr/>
        </p:nvSpPr>
        <p:spPr>
          <a:xfrm>
            <a:off x="8407400" y="4151055"/>
            <a:ext cx="4343400" cy="2554545"/>
          </a:xfrm>
          <a:prstGeom prst="rect">
            <a:avLst/>
          </a:prstGeom>
          <a:noFill/>
        </p:spPr>
        <p:txBody>
          <a:bodyPr wrap="square" rtlCol="0">
            <a:spAutoFit/>
          </a:bodyPr>
          <a:lstStyle/>
          <a:p>
            <a:r>
              <a:rPr lang="en-US" sz="3200" b="1" dirty="0">
                <a:latin typeface="+mn-lt"/>
              </a:rPr>
              <a:t>Use the Employee Performance Continuum to </a:t>
            </a:r>
            <a:r>
              <a:rPr lang="en-US" sz="3200" b="1" u="sng" dirty="0">
                <a:latin typeface="+mn-lt"/>
              </a:rPr>
              <a:t>visualize</a:t>
            </a:r>
            <a:r>
              <a:rPr lang="en-US" sz="3200" b="1" dirty="0">
                <a:latin typeface="+mn-lt"/>
              </a:rPr>
              <a:t> and self-reflect on your performance</a:t>
            </a:r>
          </a:p>
        </p:txBody>
      </p:sp>
      <p:sp>
        <p:nvSpPr>
          <p:cNvPr id="8" name="TextBox 7"/>
          <p:cNvSpPr txBox="1"/>
          <p:nvPr/>
        </p:nvSpPr>
        <p:spPr>
          <a:xfrm>
            <a:off x="8636001" y="1522284"/>
            <a:ext cx="4114799" cy="6132959"/>
          </a:xfrm>
          <a:prstGeom prst="rect">
            <a:avLst/>
          </a:prstGeom>
          <a:noFill/>
        </p:spPr>
        <p:txBody>
          <a:bodyPr wrap="square" lIns="130046" tIns="65023" rIns="130046" bIns="65023" rtlCol="0">
            <a:spAutoFit/>
          </a:bodyPr>
          <a:lstStyle/>
          <a:p>
            <a:pPr algn="l"/>
            <a:r>
              <a:rPr lang="en-US" sz="3200" b="1" dirty="0">
                <a:solidFill>
                  <a:srgbClr val="0080C0"/>
                </a:solidFill>
                <a:latin typeface="Calibri" pitchFamily="34" charset="0"/>
              </a:rPr>
              <a:t>Follow Instructions:</a:t>
            </a:r>
            <a:br>
              <a:rPr lang="en-US" sz="3200" dirty="0">
                <a:solidFill>
                  <a:schemeClr val="tx1"/>
                </a:solidFill>
                <a:latin typeface="Calibri" pitchFamily="34" charset="0"/>
              </a:rPr>
            </a:br>
            <a:r>
              <a:rPr lang="en-US" sz="3200" dirty="0">
                <a:solidFill>
                  <a:schemeClr val="tx1"/>
                </a:solidFill>
                <a:latin typeface="Calibri" pitchFamily="34" charset="0"/>
              </a:rPr>
              <a:t>Please follow-along and read the instructions on page ___</a:t>
            </a:r>
          </a:p>
          <a:p>
            <a:pPr algn="l"/>
            <a:r>
              <a:rPr lang="en-US" sz="2800" dirty="0">
                <a:solidFill>
                  <a:schemeClr val="bg1"/>
                </a:solidFill>
                <a:latin typeface="Calibri" pitchFamily="34" charset="0"/>
              </a:rPr>
              <a:t> </a:t>
            </a:r>
          </a:p>
          <a:p>
            <a:endParaRPr lang="en-US" sz="2800" b="1" dirty="0">
              <a:solidFill>
                <a:schemeClr val="bg1"/>
              </a:solidFill>
              <a:latin typeface="Calibri" pitchFamily="34" charset="0"/>
            </a:endParaRPr>
          </a:p>
          <a:p>
            <a:endParaRPr lang="en-US" b="1" dirty="0">
              <a:solidFill>
                <a:srgbClr val="0070C0"/>
              </a:solidFill>
              <a:latin typeface="Calibri" pitchFamily="34" charset="0"/>
            </a:endParaRPr>
          </a:p>
          <a:p>
            <a:endParaRPr lang="en-US" b="1" dirty="0">
              <a:solidFill>
                <a:srgbClr val="0070C0"/>
              </a:solidFill>
            </a:endParaRPr>
          </a:p>
          <a:p>
            <a:endParaRPr lang="en-US" b="1" dirty="0">
              <a:solidFill>
                <a:srgbClr val="0070C0"/>
              </a:solidFill>
            </a:endParaRPr>
          </a:p>
        </p:txBody>
      </p:sp>
      <p:grpSp>
        <p:nvGrpSpPr>
          <p:cNvPr id="10" name="Group 9">
            <a:extLst>
              <a:ext uri="{FF2B5EF4-FFF2-40B4-BE49-F238E27FC236}">
                <a16:creationId xmlns:a16="http://schemas.microsoft.com/office/drawing/2014/main" id="{BF20C372-05A2-4A65-973C-AF6A540EAB86}"/>
              </a:ext>
            </a:extLst>
          </p:cNvPr>
          <p:cNvGrpSpPr/>
          <p:nvPr/>
        </p:nvGrpSpPr>
        <p:grpSpPr>
          <a:xfrm>
            <a:off x="9855200" y="9001780"/>
            <a:ext cx="2717800" cy="675620"/>
            <a:chOff x="11150600" y="7086600"/>
            <a:chExt cx="1270000" cy="675620"/>
          </a:xfrm>
        </p:grpSpPr>
        <p:pic>
          <p:nvPicPr>
            <p:cNvPr id="11" name="Picture 2">
              <a:extLst>
                <a:ext uri="{FF2B5EF4-FFF2-40B4-BE49-F238E27FC236}">
                  <a16:creationId xmlns:a16="http://schemas.microsoft.com/office/drawing/2014/main" id="{8F2F46DF-E439-471F-A49F-E6E87F23D06D}"/>
                </a:ext>
              </a:extLst>
            </p:cNvPr>
            <p:cNvPicPr>
              <a:picLocks noChangeAspect="1" noChangeArrowheads="1"/>
            </p:cNvPicPr>
            <p:nvPr/>
          </p:nvPicPr>
          <p:blipFill>
            <a:blip r:embed="rId5"/>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2" name="TextBox 11">
              <a:extLst>
                <a:ext uri="{FF2B5EF4-FFF2-40B4-BE49-F238E27FC236}">
                  <a16:creationId xmlns:a16="http://schemas.microsoft.com/office/drawing/2014/main" id="{8ED05D50-CEE1-4E0A-8911-5557DC5CF66A}"/>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12</a:t>
              </a:r>
            </a:p>
          </p:txBody>
        </p:sp>
      </p:grpSp>
    </p:spTree>
    <p:custDataLst>
      <p:tags r:id="rId1"/>
    </p:custDataLst>
    <p:extLst>
      <p:ext uri="{BB962C8B-B14F-4D97-AF65-F5344CB8AC3E}">
        <p14:creationId xmlns:p14="http://schemas.microsoft.com/office/powerpoint/2010/main" val="621919520"/>
      </p:ext>
    </p:extLst>
  </p:cSld>
  <p:clrMapOvr>
    <a:masterClrMapping/>
  </p:clrMapOvr>
  <p:transition spd="slow">
    <p:rand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0" y="50800"/>
            <a:ext cx="12750800" cy="1625600"/>
          </a:xfrm>
        </p:spPr>
        <p:txBody>
          <a:bodyPr>
            <a:noAutofit/>
          </a:bodyPr>
          <a:lstStyle/>
          <a:p>
            <a:r>
              <a:rPr lang="en-US" sz="4800" b="1" dirty="0">
                <a:latin typeface="Leelawadee" pitchFamily="34" charset="-34"/>
                <a:cs typeface="Leelawadee" pitchFamily="34" charset="-34"/>
              </a:rPr>
              <a:t>Questions to </a:t>
            </a:r>
            <a:r>
              <a:rPr lang="en-US" sz="4800" b="1" u="sng" dirty="0">
                <a:latin typeface="Leelawadee" pitchFamily="34" charset="-34"/>
                <a:cs typeface="Leelawadee" pitchFamily="34" charset="-34"/>
              </a:rPr>
              <a:t>Reflect</a:t>
            </a:r>
            <a:r>
              <a:rPr lang="en-US" sz="4800" b="1" dirty="0">
                <a:latin typeface="Leelawadee" pitchFamily="34" charset="-34"/>
                <a:cs typeface="Leelawadee" pitchFamily="34" charset="-34"/>
              </a:rPr>
              <a:t> On Your Past, </a:t>
            </a:r>
            <a:br>
              <a:rPr lang="en-US" sz="4800" b="1" dirty="0">
                <a:latin typeface="Leelawadee" pitchFamily="34" charset="-34"/>
                <a:cs typeface="Leelawadee" pitchFamily="34" charset="-34"/>
              </a:rPr>
            </a:br>
            <a:r>
              <a:rPr lang="en-US" sz="4800" b="1" dirty="0">
                <a:latin typeface="Leelawadee" pitchFamily="34" charset="-34"/>
                <a:cs typeface="Leelawadee" pitchFamily="34" charset="-34"/>
              </a:rPr>
              <a:t>Present, and Future Performance</a:t>
            </a:r>
            <a:br>
              <a:rPr lang="en-US" sz="77000" b="1" dirty="0">
                <a:latin typeface="Leelawadee" pitchFamily="34" charset="-34"/>
                <a:cs typeface="Leelawadee" pitchFamily="34" charset="-34"/>
              </a:rPr>
            </a:br>
            <a:endParaRPr lang="en-US" sz="77000" dirty="0">
              <a:latin typeface="Leelawadee" pitchFamily="34" charset="-34"/>
              <a:cs typeface="Leelawadee" pitchFamily="34" charset="-34"/>
            </a:endParaRPr>
          </a:p>
        </p:txBody>
      </p:sp>
      <p:sp>
        <p:nvSpPr>
          <p:cNvPr id="7" name="Slide Number Placeholder 6"/>
          <p:cNvSpPr>
            <a:spLocks noGrp="1"/>
          </p:cNvSpPr>
          <p:nvPr>
            <p:ph type="sldNum" sz="quarter" idx="12"/>
          </p:nvPr>
        </p:nvSpPr>
        <p:spPr>
          <a:xfrm>
            <a:off x="8634413" y="9040813"/>
            <a:ext cx="3033712" cy="519112"/>
          </a:xfrm>
        </p:spPr>
        <p:txBody>
          <a:bodyPr/>
          <a:lstStyle/>
          <a:p>
            <a:pPr>
              <a:defRPr/>
            </a:pPr>
            <a:fld id="{7C0A6E37-841E-4E23-95AD-DF9C80D768D7}" type="slidenum">
              <a:rPr lang="en-US" smtClean="0">
                <a:solidFill>
                  <a:prstClr val="black"/>
                </a:solidFill>
              </a:rPr>
              <a:pPr>
                <a:defRPr/>
              </a:pPr>
              <a:t>24</a:t>
            </a:fld>
            <a:endParaRPr lang="en-US" dirty="0">
              <a:solidFill>
                <a:prstClr val="black"/>
              </a:solidFill>
            </a:endParaRPr>
          </a:p>
        </p:txBody>
      </p:sp>
      <p:graphicFrame>
        <p:nvGraphicFramePr>
          <p:cNvPr id="9" name="Diagram 8"/>
          <p:cNvGraphicFramePr/>
          <p:nvPr>
            <p:extLst/>
          </p:nvPr>
        </p:nvGraphicFramePr>
        <p:xfrm>
          <a:off x="-196988" y="1473200"/>
          <a:ext cx="11887200" cy="7550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75106" name="Picture 2"/>
          <p:cNvPicPr>
            <a:picLocks noChangeAspect="1" noChangeArrowheads="1"/>
          </p:cNvPicPr>
          <p:nvPr/>
        </p:nvPicPr>
        <p:blipFill>
          <a:blip r:embed="rId8"/>
          <a:srcRect/>
          <a:stretch>
            <a:fillRect/>
          </a:stretch>
        </p:blipFill>
        <p:spPr bwMode="auto">
          <a:xfrm>
            <a:off x="340308" y="9657339"/>
            <a:ext cx="7697932" cy="482023"/>
          </a:xfrm>
          <a:prstGeom prst="rect">
            <a:avLst/>
          </a:prstGeom>
          <a:noFill/>
          <a:ln w="9525">
            <a:noFill/>
            <a:miter lim="800000"/>
            <a:headEnd/>
            <a:tailEnd/>
          </a:ln>
          <a:effectLst/>
        </p:spPr>
      </p:pic>
      <p:grpSp>
        <p:nvGrpSpPr>
          <p:cNvPr id="8" name="Group 7">
            <a:extLst>
              <a:ext uri="{FF2B5EF4-FFF2-40B4-BE49-F238E27FC236}">
                <a16:creationId xmlns:a16="http://schemas.microsoft.com/office/drawing/2014/main" id="{99787E91-1D46-43A5-B87F-1398CE36A282}"/>
              </a:ext>
            </a:extLst>
          </p:cNvPr>
          <p:cNvGrpSpPr/>
          <p:nvPr/>
        </p:nvGrpSpPr>
        <p:grpSpPr>
          <a:xfrm>
            <a:off x="9855200" y="9001780"/>
            <a:ext cx="2717800" cy="675620"/>
            <a:chOff x="11150600" y="7086600"/>
            <a:chExt cx="1270000" cy="675620"/>
          </a:xfrm>
        </p:grpSpPr>
        <p:pic>
          <p:nvPicPr>
            <p:cNvPr id="11" name="Picture 2">
              <a:extLst>
                <a:ext uri="{FF2B5EF4-FFF2-40B4-BE49-F238E27FC236}">
                  <a16:creationId xmlns:a16="http://schemas.microsoft.com/office/drawing/2014/main" id="{EE02D9CC-0159-4A0B-9B9B-8D649C690B82}"/>
                </a:ext>
              </a:extLst>
            </p:cNvPr>
            <p:cNvPicPr>
              <a:picLocks noChangeAspect="1" noChangeArrowheads="1"/>
            </p:cNvPicPr>
            <p:nvPr/>
          </p:nvPicPr>
          <p:blipFill>
            <a:blip r:embed="rId9"/>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2" name="TextBox 11">
              <a:extLst>
                <a:ext uri="{FF2B5EF4-FFF2-40B4-BE49-F238E27FC236}">
                  <a16:creationId xmlns:a16="http://schemas.microsoft.com/office/drawing/2014/main" id="{1DE737E8-2469-4D8C-A7BF-BAAF17CBA67C}"/>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12</a:t>
              </a:r>
            </a:p>
          </p:txBody>
        </p:sp>
      </p:grpSp>
    </p:spTree>
    <p:custDataLst>
      <p:tags r:id="rId1"/>
    </p:custDataLst>
    <p:extLst>
      <p:ext uri="{BB962C8B-B14F-4D97-AF65-F5344CB8AC3E}">
        <p14:creationId xmlns:p14="http://schemas.microsoft.com/office/powerpoint/2010/main" val="423184459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25</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787400" y="685800"/>
            <a:ext cx="11277600" cy="28956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1701800" y="762000"/>
            <a:ext cx="9753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What’s one thing you want to learn or do as a result of today’s workshop?</a:t>
            </a:r>
          </a:p>
        </p:txBody>
      </p:sp>
      <p:pic>
        <p:nvPicPr>
          <p:cNvPr id="153602" name="Picture 2"/>
          <p:cNvPicPr>
            <a:picLocks noChangeAspect="1" noChangeArrowheads="1"/>
          </p:cNvPicPr>
          <p:nvPr/>
        </p:nvPicPr>
        <p:blipFill>
          <a:blip r:embed="rId3"/>
          <a:srcRect/>
          <a:stretch>
            <a:fillRect/>
          </a:stretch>
        </p:blipFill>
        <p:spPr bwMode="auto">
          <a:xfrm>
            <a:off x="2616200" y="4267200"/>
            <a:ext cx="3841717" cy="3962400"/>
          </a:xfrm>
          <a:prstGeom prst="rect">
            <a:avLst/>
          </a:prstGeom>
          <a:noFill/>
          <a:ln w="9525">
            <a:noFill/>
            <a:miter lim="800000"/>
            <a:headEnd/>
            <a:tailEnd/>
          </a:ln>
        </p:spPr>
      </p:pic>
      <p:sp>
        <p:nvSpPr>
          <p:cNvPr id="12" name="TextBox 11"/>
          <p:cNvSpPr txBox="1"/>
          <p:nvPr/>
        </p:nvSpPr>
        <p:spPr>
          <a:xfrm>
            <a:off x="6121400" y="4876800"/>
            <a:ext cx="5562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Record your answer on a sticky note</a:t>
            </a:r>
          </a:p>
        </p:txBody>
      </p:sp>
    </p:spTree>
    <p:custDataLst>
      <p:tags r:id="rId1"/>
    </p:custDataLst>
    <p:extLst>
      <p:ext uri="{BB962C8B-B14F-4D97-AF65-F5344CB8AC3E}">
        <p14:creationId xmlns:p14="http://schemas.microsoft.com/office/powerpoint/2010/main" val="2994652367"/>
      </p:ext>
    </p:extLst>
  </p:cSld>
  <p:clrMapOvr>
    <a:masterClrMapping/>
  </p:clrMapOvr>
  <p:transition spd="slow">
    <p:random/>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92D05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26</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4521200" y="685800"/>
            <a:ext cx="7543800" cy="7239000"/>
          </a:xfrm>
          <a:prstGeom prst="wedgeRectCallout">
            <a:avLst>
              <a:gd name="adj1" fmla="val -22103"/>
              <a:gd name="adj2" fmla="val 63764"/>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6045200" y="914400"/>
            <a:ext cx="5486400" cy="5909175"/>
          </a:xfrm>
          <a:prstGeom prst="rect">
            <a:avLst/>
          </a:prstGeom>
          <a:noFill/>
        </p:spPr>
        <p:txBody>
          <a:bodyPr wrap="square" lIns="91314" tIns="45653" rIns="91314" bIns="45653" rtlCol="0">
            <a:spAutoFit/>
          </a:bodyPr>
          <a:lstStyle/>
          <a:p>
            <a:r>
              <a:rPr lang="en-US" sz="5400" b="1" dirty="0">
                <a:solidFill>
                  <a:schemeClr val="tx1">
                    <a:lumMod val="75000"/>
                    <a:lumOff val="25000"/>
                  </a:schemeClr>
                </a:solidFill>
                <a:latin typeface="Leelawadee" pitchFamily="34" charset="-34"/>
                <a:cs typeface="Leelawadee" pitchFamily="34" charset="-34"/>
              </a:rPr>
              <a:t>Three Sets of Tools and Skills to Help Advance Your </a:t>
            </a:r>
            <a:br>
              <a:rPr lang="en-US" sz="5400" b="1" dirty="0">
                <a:solidFill>
                  <a:schemeClr val="tx1">
                    <a:lumMod val="75000"/>
                    <a:lumOff val="25000"/>
                  </a:schemeClr>
                </a:solidFill>
                <a:latin typeface="Leelawadee" pitchFamily="34" charset="-34"/>
                <a:cs typeface="Leelawadee" pitchFamily="34" charset="-34"/>
              </a:rPr>
            </a:br>
            <a:r>
              <a:rPr lang="en-US" sz="5400" b="1" dirty="0">
                <a:solidFill>
                  <a:schemeClr val="tx1">
                    <a:lumMod val="75000"/>
                    <a:lumOff val="25000"/>
                  </a:schemeClr>
                </a:solidFill>
                <a:latin typeface="Leelawadee" pitchFamily="34" charset="-34"/>
                <a:cs typeface="Leelawadee" pitchFamily="34" charset="-34"/>
              </a:rPr>
              <a:t>Career, Performance and Potential</a:t>
            </a:r>
          </a:p>
        </p:txBody>
      </p:sp>
      <p:pic>
        <p:nvPicPr>
          <p:cNvPr id="156674" name="Picture 2"/>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3835399" y="1295400"/>
            <a:ext cx="2501075" cy="2590800"/>
          </a:xfrm>
          <a:prstGeom prst="rect">
            <a:avLst/>
          </a:prstGeom>
          <a:noFill/>
          <a:ln w="9525">
            <a:noFill/>
            <a:miter lim="800000"/>
            <a:headEnd/>
            <a:tailEnd/>
          </a:ln>
        </p:spPr>
      </p:pic>
    </p:spTree>
    <p:custDataLst>
      <p:tags r:id="rId1"/>
    </p:custDataLst>
  </p:cSld>
  <p:clrMapOvr>
    <a:masterClrMapping/>
  </p:clrMapOvr>
  <p:transition spd="slow">
    <p:rand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224522" y="6598890"/>
            <a:ext cx="10905229" cy="2554545"/>
          </a:xfrm>
          <a:prstGeom prst="rect">
            <a:avLst/>
          </a:prstGeom>
          <a:noFill/>
        </p:spPr>
        <p:txBody>
          <a:bodyPr wrap="none" rtlCol="0">
            <a:spAutoFit/>
          </a:bodyPr>
          <a:lstStyle/>
          <a:p>
            <a:r>
              <a:rPr lang="en-US" sz="8000" dirty="0">
                <a:solidFill>
                  <a:schemeClr val="bg1"/>
                </a:solidFill>
                <a:latin typeface="Calibri" pitchFamily="34" charset="0"/>
              </a:rPr>
              <a:t>career, performance, and </a:t>
            </a:r>
            <a:br>
              <a:rPr lang="en-US" sz="8000" dirty="0">
                <a:solidFill>
                  <a:schemeClr val="bg1"/>
                </a:solidFill>
                <a:latin typeface="Calibri" pitchFamily="34" charset="0"/>
              </a:rPr>
            </a:br>
            <a:r>
              <a:rPr lang="en-US" sz="8000" dirty="0">
                <a:solidFill>
                  <a:schemeClr val="bg1"/>
                </a:solidFill>
                <a:latin typeface="Calibri" pitchFamily="34" charset="0"/>
              </a:rPr>
              <a:t>the right conversations</a:t>
            </a:r>
          </a:p>
        </p:txBody>
      </p:sp>
      <p:sp>
        <p:nvSpPr>
          <p:cNvPr id="10" name="Slide Number Placeholder 9"/>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27</a:t>
            </a:fld>
            <a:endParaRPr lang="en-US" dirty="0">
              <a:solidFill>
                <a:prstClr val="black"/>
              </a:solidFill>
            </a:endParaRPr>
          </a:p>
        </p:txBody>
      </p:sp>
      <p:sp>
        <p:nvSpPr>
          <p:cNvPr id="13" name="Rectangular Callout 12"/>
          <p:cNvSpPr/>
          <p:nvPr/>
        </p:nvSpPr>
        <p:spPr bwMode="auto">
          <a:xfrm>
            <a:off x="711200" y="1524000"/>
            <a:ext cx="5638800" cy="3352800"/>
          </a:xfrm>
          <a:prstGeom prst="wedgeRectCallout">
            <a:avLst>
              <a:gd name="adj1" fmla="val -19225"/>
              <a:gd name="adj2" fmla="val 65295"/>
            </a:avLst>
          </a:prstGeom>
          <a:solidFill>
            <a:schemeClr val="bg1"/>
          </a:solidFill>
          <a:ln w="76200" cap="flat" cmpd="sng" algn="ctr">
            <a:solidFill>
              <a:srgbClr val="92D05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4400" b="1" dirty="0">
                <a:solidFill>
                  <a:srgbClr val="92D050"/>
                </a:solidFill>
                <a:latin typeface="Roboto Medium" pitchFamily="2" charset="0"/>
                <a:ea typeface="Roboto Medium" pitchFamily="2" charset="0"/>
                <a:cs typeface="Roboto Medium" pitchFamily="2" charset="0"/>
              </a:rPr>
              <a:t> Ask for Insight</a:t>
            </a:r>
            <a:br>
              <a:rPr lang="en-US" sz="3600" b="1" dirty="0">
                <a:solidFill>
                  <a:srgbClr val="4D4D4F"/>
                </a:solidFill>
                <a:latin typeface="Roboto Medium" pitchFamily="2" charset="0"/>
                <a:ea typeface="Roboto Medium" pitchFamily="2" charset="0"/>
                <a:cs typeface="Roboto Medium" pitchFamily="2" charset="0"/>
              </a:rPr>
            </a:br>
            <a:r>
              <a:rPr lang="en-US" sz="2800" b="1" dirty="0">
                <a:latin typeface="Roboto Medium" pitchFamily="2" charset="0"/>
                <a:ea typeface="Roboto Medium" pitchFamily="2" charset="0"/>
                <a:cs typeface="Roboto Medium" pitchFamily="2" charset="0"/>
              </a:rPr>
              <a:t> Learn how to ask the right questions to leverage new points of view and the perspec</a:t>
            </a:r>
            <a:r>
              <a:rPr lang="en-US" sz="3200" b="1" dirty="0">
                <a:latin typeface="Roboto Medium" pitchFamily="2" charset="0"/>
                <a:ea typeface="Roboto Medium" pitchFamily="2" charset="0"/>
                <a:cs typeface="Roboto Medium" pitchFamily="2" charset="0"/>
              </a:rPr>
              <a:t>tive of others</a:t>
            </a:r>
            <a:endParaRPr lang="en-US" sz="2400" dirty="0">
              <a:latin typeface="Roboto Medium" pitchFamily="2" charset="0"/>
              <a:ea typeface="Roboto Medium" pitchFamily="2" charset="0"/>
              <a:cs typeface="Roboto Medium" pitchFamily="2" charset="0"/>
            </a:endParaRPr>
          </a:p>
        </p:txBody>
      </p:sp>
      <p:sp>
        <p:nvSpPr>
          <p:cNvPr id="14" name="Rectangular Callout 13"/>
          <p:cNvSpPr/>
          <p:nvPr/>
        </p:nvSpPr>
        <p:spPr bwMode="auto">
          <a:xfrm>
            <a:off x="482600" y="5562600"/>
            <a:ext cx="7543800" cy="3505200"/>
          </a:xfrm>
          <a:prstGeom prst="wedgeRectCallout">
            <a:avLst>
              <a:gd name="adj1" fmla="val -19783"/>
              <a:gd name="adj2" fmla="val 59664"/>
            </a:avLst>
          </a:prstGeom>
          <a:solidFill>
            <a:schemeClr val="bg1"/>
          </a:solidFill>
          <a:ln w="76200" cap="flat" cmpd="sng" algn="ctr">
            <a:solidFill>
              <a:srgbClr val="33CCCC"/>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4400" b="1" dirty="0">
                <a:solidFill>
                  <a:srgbClr val="30C5C2"/>
                </a:solidFill>
                <a:latin typeface="Leelawadee" pitchFamily="34" charset="-34"/>
                <a:cs typeface="Leelawadee" pitchFamily="34" charset="-34"/>
              </a:rPr>
              <a:t>  Give Positive Feedback</a:t>
            </a:r>
            <a:br>
              <a:rPr lang="en-US" sz="5400" b="1" dirty="0">
                <a:solidFill>
                  <a:srgbClr val="4D4D4F"/>
                </a:solidFill>
                <a:cs typeface="Arial" pitchFamily="34" charset="0"/>
              </a:rPr>
            </a:br>
            <a:r>
              <a:rPr lang="en-US" sz="4400" b="1" dirty="0"/>
              <a:t> </a:t>
            </a:r>
            <a:r>
              <a:rPr lang="en-US" sz="3200" b="1" dirty="0">
                <a:latin typeface="Roboto Medium" pitchFamily="2" charset="0"/>
                <a:ea typeface="Roboto Medium" pitchFamily="2" charset="0"/>
                <a:cs typeface="Roboto Medium" pitchFamily="2" charset="0"/>
              </a:rPr>
              <a:t>Give more complete information to others when volunteering your positive feedback or being asked for input</a:t>
            </a:r>
            <a:endParaRPr lang="en-US" sz="3600" dirty="0">
              <a:latin typeface="Roboto Medium" pitchFamily="2" charset="0"/>
              <a:ea typeface="Roboto Medium" pitchFamily="2" charset="0"/>
              <a:cs typeface="Roboto Medium" pitchFamily="2" charset="0"/>
            </a:endParaRPr>
          </a:p>
        </p:txBody>
      </p:sp>
      <p:sp>
        <p:nvSpPr>
          <p:cNvPr id="16" name="TextBox 15"/>
          <p:cNvSpPr txBox="1"/>
          <p:nvPr/>
        </p:nvSpPr>
        <p:spPr>
          <a:xfrm>
            <a:off x="0" y="0"/>
            <a:ext cx="13041203" cy="1107996"/>
          </a:xfrm>
          <a:prstGeom prst="rect">
            <a:avLst/>
          </a:prstGeom>
          <a:noFill/>
        </p:spPr>
        <p:txBody>
          <a:bodyPr wrap="square" rtlCol="0">
            <a:spAutoFit/>
          </a:bodyPr>
          <a:lstStyle/>
          <a:p>
            <a:r>
              <a:rPr lang="en-US" sz="6600" b="1" dirty="0">
                <a:solidFill>
                  <a:schemeClr val="tx1">
                    <a:lumMod val="75000"/>
                    <a:lumOff val="25000"/>
                  </a:schemeClr>
                </a:solidFill>
                <a:latin typeface="Leelawadee" pitchFamily="34" charset="-34"/>
                <a:cs typeface="Leelawadee" pitchFamily="34" charset="-34"/>
              </a:rPr>
              <a:t>Skills and Tools to:</a:t>
            </a:r>
          </a:p>
        </p:txBody>
      </p:sp>
      <p:sp>
        <p:nvSpPr>
          <p:cNvPr id="17" name="Rectangular Callout 16"/>
          <p:cNvSpPr/>
          <p:nvPr/>
        </p:nvSpPr>
        <p:spPr bwMode="auto">
          <a:xfrm>
            <a:off x="8255000" y="2209800"/>
            <a:ext cx="4343400" cy="5791200"/>
          </a:xfrm>
          <a:prstGeom prst="wedgeRectCallout">
            <a:avLst>
              <a:gd name="adj1" fmla="val -19225"/>
              <a:gd name="adj2" fmla="val 65295"/>
            </a:avLst>
          </a:prstGeom>
          <a:solidFill>
            <a:schemeClr val="bg1"/>
          </a:solidFill>
          <a:ln w="762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4400" b="1" dirty="0">
                <a:solidFill>
                  <a:schemeClr val="accent1"/>
                </a:solidFill>
                <a:latin typeface="Roboto Medium" pitchFamily="2" charset="0"/>
                <a:ea typeface="Roboto Medium" pitchFamily="2" charset="0"/>
                <a:cs typeface="Roboto Medium" pitchFamily="2" charset="0"/>
              </a:rPr>
              <a:t>   Engage in Peer and Manager Conversations</a:t>
            </a:r>
            <a:br>
              <a:rPr lang="en-US" sz="4800" b="1" dirty="0">
                <a:solidFill>
                  <a:schemeClr val="accent1"/>
                </a:solidFill>
                <a:latin typeface="Roboto Medium" pitchFamily="2" charset="0"/>
                <a:ea typeface="Roboto Medium" pitchFamily="2" charset="0"/>
                <a:cs typeface="Roboto Medium" pitchFamily="2" charset="0"/>
              </a:rPr>
            </a:br>
            <a:r>
              <a:rPr lang="en-US" sz="4000" b="1" dirty="0">
                <a:solidFill>
                  <a:schemeClr val="tx1"/>
                </a:solidFill>
              </a:rPr>
              <a:t> </a:t>
            </a:r>
            <a:r>
              <a:rPr lang="en-US" sz="3200" b="1" dirty="0">
                <a:solidFill>
                  <a:schemeClr val="tx1"/>
                </a:solidFill>
                <a:latin typeface="Roboto Medium" pitchFamily="2" charset="0"/>
                <a:ea typeface="Roboto Medium" pitchFamily="2" charset="0"/>
                <a:cs typeface="Roboto Medium" pitchFamily="2" charset="0"/>
              </a:rPr>
              <a:t>Engage in two-way dialogue with peers and managers </a:t>
            </a:r>
            <a:br>
              <a:rPr lang="en-US" sz="3200" b="1" dirty="0">
                <a:solidFill>
                  <a:schemeClr val="tx1"/>
                </a:solidFill>
                <a:latin typeface="Roboto Medium" pitchFamily="2" charset="0"/>
                <a:ea typeface="Roboto Medium" pitchFamily="2" charset="0"/>
                <a:cs typeface="Roboto Medium" pitchFamily="2" charset="0"/>
              </a:rPr>
            </a:br>
            <a:r>
              <a:rPr lang="en-US" sz="3200" b="1" dirty="0">
                <a:solidFill>
                  <a:schemeClr val="tx1"/>
                </a:solidFill>
                <a:latin typeface="Roboto Medium" pitchFamily="2" charset="0"/>
                <a:ea typeface="Roboto Medium" pitchFamily="2" charset="0"/>
                <a:cs typeface="Roboto Medium" pitchFamily="2" charset="0"/>
              </a:rPr>
              <a:t>to comfortably give and receive feedback.</a:t>
            </a:r>
            <a:br>
              <a:rPr lang="en-US" sz="4000" b="1" dirty="0">
                <a:solidFill>
                  <a:schemeClr val="accent1"/>
                </a:solidFill>
                <a:latin typeface="Roboto Medium" pitchFamily="2" charset="0"/>
                <a:ea typeface="Roboto Medium" pitchFamily="2" charset="0"/>
                <a:cs typeface="Roboto Medium" pitchFamily="2" charset="0"/>
              </a:rPr>
            </a:br>
            <a:endParaRPr lang="en-US" sz="2400" dirty="0">
              <a:solidFill>
                <a:schemeClr val="accent1"/>
              </a:solidFill>
              <a:latin typeface="Roboto Medium" pitchFamily="2" charset="0"/>
              <a:ea typeface="Roboto Medium" pitchFamily="2" charset="0"/>
              <a:cs typeface="Roboto Medium" pitchFamily="2" charset="0"/>
            </a:endParaRPr>
          </a:p>
        </p:txBody>
      </p:sp>
      <p:pic>
        <p:nvPicPr>
          <p:cNvPr id="155650" name="Picture 2"/>
          <p:cNvPicPr>
            <a:picLocks noChangeAspect="1" noChangeArrowheads="1"/>
          </p:cNvPicPr>
          <p:nvPr/>
        </p:nvPicPr>
        <p:blipFill>
          <a:blip r:embed="rId3"/>
          <a:srcRect/>
          <a:stretch>
            <a:fillRect/>
          </a:stretch>
        </p:blipFill>
        <p:spPr bwMode="auto">
          <a:xfrm>
            <a:off x="330200" y="990600"/>
            <a:ext cx="1215858" cy="1295400"/>
          </a:xfrm>
          <a:prstGeom prst="rect">
            <a:avLst/>
          </a:prstGeom>
          <a:noFill/>
          <a:ln w="9525">
            <a:noFill/>
            <a:miter lim="800000"/>
            <a:headEnd/>
            <a:tailEnd/>
          </a:ln>
        </p:spPr>
      </p:pic>
      <p:pic>
        <p:nvPicPr>
          <p:cNvPr id="155651" name="Picture 3"/>
          <p:cNvPicPr>
            <a:picLocks noChangeAspect="1" noChangeArrowheads="1"/>
          </p:cNvPicPr>
          <p:nvPr/>
        </p:nvPicPr>
        <p:blipFill>
          <a:blip r:embed="rId4"/>
          <a:srcRect/>
          <a:stretch>
            <a:fillRect/>
          </a:stretch>
        </p:blipFill>
        <p:spPr bwMode="auto">
          <a:xfrm>
            <a:off x="0" y="5181600"/>
            <a:ext cx="1320800" cy="1283768"/>
          </a:xfrm>
          <a:prstGeom prst="rect">
            <a:avLst/>
          </a:prstGeom>
          <a:noFill/>
          <a:ln w="9525">
            <a:noFill/>
            <a:miter lim="800000"/>
            <a:headEnd/>
            <a:tailEnd/>
          </a:ln>
        </p:spPr>
      </p:pic>
      <p:pic>
        <p:nvPicPr>
          <p:cNvPr id="155652" name="Picture 4"/>
          <p:cNvPicPr>
            <a:picLocks noChangeAspect="1" noChangeArrowheads="1"/>
          </p:cNvPicPr>
          <p:nvPr/>
        </p:nvPicPr>
        <p:blipFill>
          <a:blip r:embed="rId5"/>
          <a:srcRect/>
          <a:stretch>
            <a:fillRect/>
          </a:stretch>
        </p:blipFill>
        <p:spPr bwMode="auto">
          <a:xfrm>
            <a:off x="7645400" y="1524000"/>
            <a:ext cx="1219200" cy="1231037"/>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4155299355"/>
      </p:ext>
    </p:extLst>
  </p:cSld>
  <p:clrMapOvr>
    <a:masterClrMapping/>
  </p:clrMapOvr>
  <p:transition spd="slow">
    <p:random/>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28</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6" name="Text Box 2"/>
          <p:cNvSpPr txBox="1">
            <a:spLocks noChangeArrowheads="1"/>
          </p:cNvSpPr>
          <p:nvPr/>
        </p:nvSpPr>
        <p:spPr bwMode="auto">
          <a:xfrm>
            <a:off x="1549400" y="5562600"/>
            <a:ext cx="10591800" cy="22860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5400" b="1" dirty="0">
                <a:solidFill>
                  <a:srgbClr val="4D4D4F"/>
                </a:solidFill>
                <a:latin typeface="+mn-lt"/>
                <a:cs typeface="Arial" pitchFamily="34" charset="0"/>
              </a:rPr>
              <a:t>Self-Driven Insight</a:t>
            </a:r>
            <a:br>
              <a:rPr lang="en-US" sz="4800" b="1" dirty="0">
                <a:solidFill>
                  <a:srgbClr val="4D4D4F"/>
                </a:solidFill>
                <a:latin typeface="+mn-lt"/>
                <a:cs typeface="Arial" pitchFamily="34" charset="0"/>
              </a:rPr>
            </a:br>
            <a:r>
              <a:rPr lang="en-US" sz="3200" b="1" dirty="0"/>
              <a:t> </a:t>
            </a:r>
            <a:r>
              <a:rPr lang="en-US" sz="3200" b="1" dirty="0">
                <a:latin typeface="+mn-lt"/>
              </a:rPr>
              <a:t>Learn how to ask the right questions to leverage new points of view and the perspective of others</a:t>
            </a:r>
            <a:endParaRPr lang="en-US" sz="2400" dirty="0">
              <a:latin typeface="+mn-lt"/>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 name="Line 3"/>
          <p:cNvSpPr>
            <a:spLocks noChangeShapeType="1"/>
          </p:cNvSpPr>
          <p:nvPr/>
        </p:nvSpPr>
        <p:spPr bwMode="auto">
          <a:xfrm flipV="1">
            <a:off x="558800" y="5486400"/>
            <a:ext cx="1158240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pic>
        <p:nvPicPr>
          <p:cNvPr id="9" name="Picture 5"/>
          <p:cNvPicPr>
            <a:picLocks noChangeAspect="1" noChangeArrowheads="1"/>
          </p:cNvPicPr>
          <p:nvPr/>
        </p:nvPicPr>
        <p:blipFill>
          <a:blip r:embed="rId3" cstate="print"/>
          <a:srcRect r="27420"/>
          <a:stretch>
            <a:fillRect/>
          </a:stretch>
        </p:blipFill>
        <p:spPr bwMode="auto">
          <a:xfrm>
            <a:off x="2778021" y="3429001"/>
            <a:ext cx="8067779" cy="1824038"/>
          </a:xfrm>
          <a:prstGeom prst="rect">
            <a:avLst/>
          </a:prstGeom>
          <a:noFill/>
          <a:ln w="9525" algn="in">
            <a:noFill/>
            <a:miter lim="800000"/>
            <a:headEnd/>
            <a:tailEnd/>
          </a:ln>
          <a:effectLst/>
        </p:spPr>
      </p:pic>
    </p:spTree>
    <p:custDataLst>
      <p:tags r:id="rId1"/>
    </p:custDataLst>
  </p:cSld>
  <p:clrMapOvr>
    <a:masterClrMapping/>
  </p:clrMapOvr>
  <p:transition spd="slow">
    <p:rand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ChangeArrowheads="1"/>
          </p:cNvSpPr>
          <p:nvPr/>
        </p:nvSpPr>
        <p:spPr bwMode="auto">
          <a:xfrm>
            <a:off x="787400" y="3258541"/>
            <a:ext cx="11054080" cy="2090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46" tIns="64724" rIns="129446" bIns="64724" anchor="ctr"/>
          <a:lstStyle/>
          <a:p>
            <a:pPr algn="ctr"/>
            <a:endParaRPr lang="en-US" sz="6300">
              <a:solidFill>
                <a:schemeClr val="tx2"/>
              </a:solidFill>
            </a:endParaRPr>
          </a:p>
        </p:txBody>
      </p:sp>
      <p:sp>
        <p:nvSpPr>
          <p:cNvPr id="20484" name="Rectangle 5"/>
          <p:cNvSpPr>
            <a:spLocks noChangeArrowheads="1"/>
          </p:cNvSpPr>
          <p:nvPr/>
        </p:nvSpPr>
        <p:spPr bwMode="auto">
          <a:xfrm>
            <a:off x="1950720" y="4688840"/>
            <a:ext cx="9103360" cy="2492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46" tIns="64724" rIns="129446" bIns="64724"/>
          <a:lstStyle/>
          <a:p>
            <a:pPr algn="ctr">
              <a:spcBef>
                <a:spcPct val="20000"/>
              </a:spcBef>
              <a:buClr>
                <a:schemeClr val="tx1"/>
              </a:buClr>
              <a:buSzPct val="90000"/>
              <a:buFont typeface="Wingdings" pitchFamily="2" charset="2"/>
              <a:buNone/>
            </a:pPr>
            <a:endParaRPr lang="en-US" sz="4600"/>
          </a:p>
        </p:txBody>
      </p:sp>
      <p:sp>
        <p:nvSpPr>
          <p:cNvPr id="20485" name="Rectangle 6"/>
          <p:cNvSpPr>
            <a:spLocks noRot="1" noChangeArrowheads="1"/>
          </p:cNvSpPr>
          <p:nvPr/>
        </p:nvSpPr>
        <p:spPr bwMode="auto">
          <a:xfrm>
            <a:off x="0" y="216747"/>
            <a:ext cx="13004800" cy="162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46" tIns="64724" rIns="129446" bIns="64724" anchor="ctr"/>
          <a:lstStyle/>
          <a:p>
            <a:r>
              <a:rPr lang="en-US" sz="4800" b="1" dirty="0">
                <a:solidFill>
                  <a:schemeClr val="tx1">
                    <a:lumMod val="65000"/>
                    <a:lumOff val="35000"/>
                  </a:schemeClr>
                </a:solidFill>
                <a:latin typeface="Leelawadee" panose="020B0502040204020203" pitchFamily="34" charset="-34"/>
                <a:cs typeface="Leelawadee" panose="020B0502040204020203" pitchFamily="34" charset="-34"/>
              </a:rPr>
              <a:t>Known Versus Unknown Information</a:t>
            </a:r>
          </a:p>
        </p:txBody>
      </p:sp>
      <p:sp>
        <p:nvSpPr>
          <p:cNvPr id="655367" name="Rectangle 7"/>
          <p:cNvSpPr>
            <a:spLocks noChangeArrowheads="1"/>
          </p:cNvSpPr>
          <p:nvPr/>
        </p:nvSpPr>
        <p:spPr bwMode="hidden">
          <a:xfrm>
            <a:off x="2082800" y="2937933"/>
            <a:ext cx="4773507" cy="4529667"/>
          </a:xfrm>
          <a:prstGeom prst="rect">
            <a:avLst/>
          </a:prstGeom>
          <a:solidFill>
            <a:srgbClr val="00DECE"/>
          </a:solidFill>
          <a:ln>
            <a:noFill/>
          </a:ln>
          <a:effectLst/>
          <a:extLst/>
        </p:spPr>
        <p:txBody>
          <a:bodyPr wrap="none" lIns="129446" tIns="64724" rIns="129446" bIns="64724" anchor="ctr"/>
          <a:lstStyle/>
          <a:p>
            <a:pPr algn="ctr"/>
            <a:endParaRPr lang="en-US"/>
          </a:p>
        </p:txBody>
      </p:sp>
      <p:sp>
        <p:nvSpPr>
          <p:cNvPr id="655368" name="Rectangle 8"/>
          <p:cNvSpPr>
            <a:spLocks noChangeArrowheads="1"/>
          </p:cNvSpPr>
          <p:nvPr/>
        </p:nvSpPr>
        <p:spPr bwMode="hidden">
          <a:xfrm>
            <a:off x="6856306" y="2937933"/>
            <a:ext cx="5284894" cy="4529667"/>
          </a:xfrm>
          <a:prstGeom prst="rect">
            <a:avLst/>
          </a:prstGeom>
          <a:solidFill>
            <a:srgbClr val="92D050"/>
          </a:solidFill>
          <a:ln>
            <a:noFill/>
          </a:ln>
          <a:effectLst/>
          <a:extLst/>
        </p:spPr>
        <p:txBody>
          <a:bodyPr wrap="none" lIns="129446" tIns="64724" rIns="129446" bIns="64724" anchor="ctr"/>
          <a:lstStyle/>
          <a:p>
            <a:pPr algn="ctr"/>
            <a:endParaRPr lang="en-US"/>
          </a:p>
        </p:txBody>
      </p:sp>
      <p:sp>
        <p:nvSpPr>
          <p:cNvPr id="655371" name="Text Box 11"/>
          <p:cNvSpPr txBox="1">
            <a:spLocks noChangeArrowheads="1"/>
          </p:cNvSpPr>
          <p:nvPr/>
        </p:nvSpPr>
        <p:spPr bwMode="hidden">
          <a:xfrm>
            <a:off x="2540000" y="3886200"/>
            <a:ext cx="4038600" cy="336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29446" tIns="64724" rIns="129446" bIns="64724">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5400" dirty="0">
                <a:solidFill>
                  <a:schemeClr val="bg1"/>
                </a:solidFill>
                <a:latin typeface="Roboto Medium" pitchFamily="2" charset="0"/>
                <a:ea typeface="Roboto Medium" pitchFamily="2" charset="0"/>
                <a:cs typeface="Roboto Medium" pitchFamily="2" charset="0"/>
              </a:rPr>
              <a:t>Open Arena</a:t>
            </a:r>
            <a:br>
              <a:rPr lang="en-US" sz="4800" dirty="0">
                <a:solidFill>
                  <a:schemeClr val="bg1"/>
                </a:solidFill>
                <a:latin typeface="Roboto Medium" pitchFamily="2" charset="0"/>
                <a:ea typeface="Roboto Medium" pitchFamily="2" charset="0"/>
                <a:cs typeface="Roboto Medium" pitchFamily="2" charset="0"/>
              </a:rPr>
            </a:br>
            <a:endParaRPr lang="en-US" sz="4800" dirty="0">
              <a:solidFill>
                <a:schemeClr val="bg1"/>
              </a:solidFill>
              <a:latin typeface="Roboto Medium" pitchFamily="2" charset="0"/>
              <a:ea typeface="Roboto Medium" pitchFamily="2" charset="0"/>
              <a:cs typeface="Roboto Medium" pitchFamily="2" charset="0"/>
            </a:endParaRPr>
          </a:p>
          <a:p>
            <a:pPr algn="ctr" eaLnBrk="1" hangingPunct="1"/>
            <a:r>
              <a:rPr lang="en-US" sz="3600" b="0" dirty="0">
                <a:solidFill>
                  <a:schemeClr val="bg1"/>
                </a:solidFill>
                <a:latin typeface="Roboto Medium" pitchFamily="2" charset="0"/>
                <a:ea typeface="Roboto Medium" pitchFamily="2" charset="0"/>
                <a:cs typeface="Roboto Medium" pitchFamily="2" charset="0"/>
              </a:rPr>
              <a:t>Information known to self and to others</a:t>
            </a:r>
            <a:endParaRPr lang="en-US" sz="1800" b="0" dirty="0">
              <a:solidFill>
                <a:schemeClr val="bg1"/>
              </a:solidFill>
              <a:latin typeface="Roboto Medium" pitchFamily="2" charset="0"/>
              <a:ea typeface="Roboto Medium" pitchFamily="2" charset="0"/>
              <a:cs typeface="Roboto Medium" pitchFamily="2" charset="0"/>
            </a:endParaRPr>
          </a:p>
        </p:txBody>
      </p:sp>
      <p:sp>
        <p:nvSpPr>
          <p:cNvPr id="655372" name="Text Box 12"/>
          <p:cNvSpPr txBox="1">
            <a:spLocks noChangeArrowheads="1"/>
          </p:cNvSpPr>
          <p:nvPr/>
        </p:nvSpPr>
        <p:spPr bwMode="hidden">
          <a:xfrm>
            <a:off x="7520093" y="3582014"/>
            <a:ext cx="3657600" cy="3885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129446" tIns="64724" rIns="129446" bIns="64724">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5400" dirty="0">
                <a:solidFill>
                  <a:schemeClr val="bg1"/>
                </a:solidFill>
                <a:latin typeface="Roboto Medium" pitchFamily="2" charset="0"/>
                <a:ea typeface="Roboto Medium" pitchFamily="2" charset="0"/>
                <a:cs typeface="Roboto Medium" pitchFamily="2" charset="0"/>
              </a:rPr>
              <a:t>Blind Spot</a:t>
            </a:r>
            <a:br>
              <a:rPr lang="en-US" sz="4600" dirty="0">
                <a:solidFill>
                  <a:schemeClr val="bg1"/>
                </a:solidFill>
                <a:latin typeface="Roboto Medium" pitchFamily="2" charset="0"/>
                <a:ea typeface="Roboto Medium" pitchFamily="2" charset="0"/>
                <a:cs typeface="Roboto Medium" pitchFamily="2" charset="0"/>
              </a:rPr>
            </a:br>
            <a:endParaRPr lang="en-US" sz="4600" dirty="0">
              <a:solidFill>
                <a:schemeClr val="bg1"/>
              </a:solidFill>
              <a:latin typeface="Roboto Medium" pitchFamily="2" charset="0"/>
              <a:ea typeface="Roboto Medium" pitchFamily="2" charset="0"/>
              <a:cs typeface="Roboto Medium" pitchFamily="2" charset="0"/>
            </a:endParaRPr>
          </a:p>
          <a:p>
            <a:pPr algn="ctr" eaLnBrk="1" hangingPunct="1"/>
            <a:r>
              <a:rPr lang="en-US" sz="3600" b="0" dirty="0">
                <a:solidFill>
                  <a:schemeClr val="bg1"/>
                </a:solidFill>
                <a:latin typeface="Roboto Medium" pitchFamily="2" charset="0"/>
                <a:ea typeface="Roboto Medium" pitchFamily="2" charset="0"/>
                <a:cs typeface="Roboto Medium" pitchFamily="2" charset="0"/>
              </a:rPr>
              <a:t>Information unnoticed by self, but known to others</a:t>
            </a:r>
            <a:endParaRPr lang="en-US" sz="1100" b="0" dirty="0">
              <a:solidFill>
                <a:schemeClr val="bg1"/>
              </a:solidFill>
              <a:latin typeface="Roboto Medium" pitchFamily="2" charset="0"/>
              <a:ea typeface="Roboto Medium" pitchFamily="2" charset="0"/>
              <a:cs typeface="Roboto Medium" pitchFamily="2" charset="0"/>
            </a:endParaRPr>
          </a:p>
        </p:txBody>
      </p:sp>
      <p:sp>
        <p:nvSpPr>
          <p:cNvPr id="655375" name="Text Box 15"/>
          <p:cNvSpPr txBox="1">
            <a:spLocks noChangeArrowheads="1"/>
          </p:cNvSpPr>
          <p:nvPr/>
        </p:nvSpPr>
        <p:spPr bwMode="auto">
          <a:xfrm>
            <a:off x="2463800" y="2209800"/>
            <a:ext cx="3657600" cy="3465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lIns="51765" tIns="51765" rIns="51765" bIns="51765"/>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4400" u="sng" dirty="0">
                <a:solidFill>
                  <a:schemeClr val="tx1">
                    <a:lumMod val="50000"/>
                    <a:lumOff val="50000"/>
                  </a:schemeClr>
                </a:solidFill>
              </a:rPr>
              <a:t>Known</a:t>
            </a:r>
            <a:r>
              <a:rPr lang="en-US" sz="3600" dirty="0">
                <a:solidFill>
                  <a:srgbClr val="30C5C2"/>
                </a:solidFill>
              </a:rPr>
              <a:t> to Self</a:t>
            </a:r>
          </a:p>
        </p:txBody>
      </p:sp>
      <p:sp>
        <p:nvSpPr>
          <p:cNvPr id="655376" name="Text Box 16"/>
          <p:cNvSpPr txBox="1">
            <a:spLocks noChangeArrowheads="1"/>
          </p:cNvSpPr>
          <p:nvPr/>
        </p:nvSpPr>
        <p:spPr bwMode="auto">
          <a:xfrm>
            <a:off x="7340600" y="2209800"/>
            <a:ext cx="4419600" cy="4876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lIns="51765" tIns="51765" rIns="51765" bIns="51765"/>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4400" u="sng" dirty="0">
                <a:solidFill>
                  <a:schemeClr val="tx1">
                    <a:lumMod val="50000"/>
                    <a:lumOff val="50000"/>
                  </a:schemeClr>
                </a:solidFill>
              </a:rPr>
              <a:t>Un</a:t>
            </a:r>
            <a:r>
              <a:rPr lang="en-US" sz="4400" dirty="0">
                <a:solidFill>
                  <a:schemeClr val="tx1">
                    <a:lumMod val="50000"/>
                    <a:lumOff val="50000"/>
                  </a:schemeClr>
                </a:solidFill>
              </a:rPr>
              <a:t>known</a:t>
            </a:r>
            <a:r>
              <a:rPr lang="en-US" sz="3600" dirty="0">
                <a:solidFill>
                  <a:srgbClr val="92D050"/>
                </a:solidFill>
              </a:rPr>
              <a:t> to Self</a:t>
            </a:r>
          </a:p>
        </p:txBody>
      </p:sp>
      <p:sp>
        <p:nvSpPr>
          <p:cNvPr id="655377" name="Text Box 17"/>
          <p:cNvSpPr txBox="1">
            <a:spLocks noChangeArrowheads="1"/>
          </p:cNvSpPr>
          <p:nvPr/>
        </p:nvSpPr>
        <p:spPr bwMode="auto">
          <a:xfrm rot="5400000">
            <a:off x="-373661" y="4590062"/>
            <a:ext cx="4190999" cy="6496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lIns="51765" tIns="51765" rIns="51765" bIns="51765"/>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r" eaLnBrk="1" hangingPunct="1"/>
            <a:r>
              <a:rPr lang="en-US" sz="3600" dirty="0"/>
              <a:t>Known to Others</a:t>
            </a:r>
          </a:p>
        </p:txBody>
      </p:sp>
    </p:spTree>
    <p:custDataLst>
      <p:tags r:id="rId1"/>
    </p:custDataLst>
    <p:extLst>
      <p:ext uri="{BB962C8B-B14F-4D97-AF65-F5344CB8AC3E}">
        <p14:creationId xmlns:p14="http://schemas.microsoft.com/office/powerpoint/2010/main" val="3942905140"/>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0" presetClass="entr" presetSubtype="0" decel="100000" fill="hold" grpId="0" nodeType="clickEffect">
                                  <p:stCondLst>
                                    <p:cond delay="0"/>
                                  </p:stCondLst>
                                  <p:childTnLst>
                                    <p:set>
                                      <p:cBhvr>
                                        <p:cTn id="6" dur="1" fill="hold">
                                          <p:stCondLst>
                                            <p:cond delay="0"/>
                                          </p:stCondLst>
                                        </p:cTn>
                                        <p:tgtEl>
                                          <p:spTgt spid="655367"/>
                                        </p:tgtEl>
                                        <p:attrNameLst>
                                          <p:attrName>style.visibility</p:attrName>
                                        </p:attrNameLst>
                                      </p:cBhvr>
                                      <p:to>
                                        <p:strVal val="visible"/>
                                      </p:to>
                                    </p:set>
                                    <p:anim calcmode="lin" valueType="num">
                                      <p:cBhvr>
                                        <p:cTn id="7" dur="1000" fill="hold"/>
                                        <p:tgtEl>
                                          <p:spTgt spid="655367"/>
                                        </p:tgtEl>
                                        <p:attrNameLst>
                                          <p:attrName>ppt_w</p:attrName>
                                        </p:attrNameLst>
                                      </p:cBhvr>
                                      <p:tavLst>
                                        <p:tav tm="0">
                                          <p:val>
                                            <p:strVal val="#ppt_w+.3"/>
                                          </p:val>
                                        </p:tav>
                                        <p:tav tm="100000">
                                          <p:val>
                                            <p:strVal val="#ppt_w"/>
                                          </p:val>
                                        </p:tav>
                                      </p:tavLst>
                                    </p:anim>
                                    <p:anim calcmode="lin" valueType="num">
                                      <p:cBhvr>
                                        <p:cTn id="8" dur="1000" fill="hold"/>
                                        <p:tgtEl>
                                          <p:spTgt spid="655367"/>
                                        </p:tgtEl>
                                        <p:attrNameLst>
                                          <p:attrName>ppt_h</p:attrName>
                                        </p:attrNameLst>
                                      </p:cBhvr>
                                      <p:tavLst>
                                        <p:tav tm="0">
                                          <p:val>
                                            <p:strVal val="#ppt_h"/>
                                          </p:val>
                                        </p:tav>
                                        <p:tav tm="100000">
                                          <p:val>
                                            <p:strVal val="#ppt_h"/>
                                          </p:val>
                                        </p:tav>
                                      </p:tavLst>
                                    </p:anim>
                                    <p:animEffect transition="in" filter="fade">
                                      <p:cBhvr>
                                        <p:cTn id="9" dur="1000"/>
                                        <p:tgtEl>
                                          <p:spTgt spid="655367"/>
                                        </p:tgtEl>
                                      </p:cBhvr>
                                    </p:animEffect>
                                  </p:childTnLst>
                                </p:cTn>
                              </p:par>
                            </p:childTnLst>
                          </p:cTn>
                        </p:par>
                      </p:childTnLst>
                    </p:cTn>
                  </p:par>
                  <p:par>
                    <p:cTn id="10" fill="hold">
                      <p:stCondLst>
                        <p:cond delay="indefinite"/>
                      </p:stCondLst>
                      <p:childTnLst>
                        <p:par>
                          <p:cTn id="11" fill="hold">
                            <p:stCondLst>
                              <p:cond delay="0"/>
                            </p:stCondLst>
                            <p:childTnLst>
                              <p:par>
                                <p:cTn id="12" presetID="50" presetClass="entr" presetSubtype="0" decel="100000" fill="hold" grpId="0" nodeType="clickEffect">
                                  <p:stCondLst>
                                    <p:cond delay="0"/>
                                  </p:stCondLst>
                                  <p:childTnLst>
                                    <p:set>
                                      <p:cBhvr>
                                        <p:cTn id="13" dur="1" fill="hold">
                                          <p:stCondLst>
                                            <p:cond delay="0"/>
                                          </p:stCondLst>
                                        </p:cTn>
                                        <p:tgtEl>
                                          <p:spTgt spid="655371"/>
                                        </p:tgtEl>
                                        <p:attrNameLst>
                                          <p:attrName>style.visibility</p:attrName>
                                        </p:attrNameLst>
                                      </p:cBhvr>
                                      <p:to>
                                        <p:strVal val="visible"/>
                                      </p:to>
                                    </p:set>
                                    <p:anim calcmode="lin" valueType="num">
                                      <p:cBhvr>
                                        <p:cTn id="14" dur="1000" fill="hold"/>
                                        <p:tgtEl>
                                          <p:spTgt spid="655371"/>
                                        </p:tgtEl>
                                        <p:attrNameLst>
                                          <p:attrName>ppt_w</p:attrName>
                                        </p:attrNameLst>
                                      </p:cBhvr>
                                      <p:tavLst>
                                        <p:tav tm="0">
                                          <p:val>
                                            <p:strVal val="#ppt_w+.3"/>
                                          </p:val>
                                        </p:tav>
                                        <p:tav tm="100000">
                                          <p:val>
                                            <p:strVal val="#ppt_w"/>
                                          </p:val>
                                        </p:tav>
                                      </p:tavLst>
                                    </p:anim>
                                    <p:anim calcmode="lin" valueType="num">
                                      <p:cBhvr>
                                        <p:cTn id="15" dur="1000" fill="hold"/>
                                        <p:tgtEl>
                                          <p:spTgt spid="655371"/>
                                        </p:tgtEl>
                                        <p:attrNameLst>
                                          <p:attrName>ppt_h</p:attrName>
                                        </p:attrNameLst>
                                      </p:cBhvr>
                                      <p:tavLst>
                                        <p:tav tm="0">
                                          <p:val>
                                            <p:strVal val="#ppt_h"/>
                                          </p:val>
                                        </p:tav>
                                        <p:tav tm="100000">
                                          <p:val>
                                            <p:strVal val="#ppt_h"/>
                                          </p:val>
                                        </p:tav>
                                      </p:tavLst>
                                    </p:anim>
                                    <p:animEffect transition="in" filter="fade">
                                      <p:cBhvr>
                                        <p:cTn id="16" dur="1000"/>
                                        <p:tgtEl>
                                          <p:spTgt spid="655371"/>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0" presetClass="entr" presetSubtype="0" decel="100000" fill="hold" grpId="0" nodeType="clickEffect">
                                  <p:stCondLst>
                                    <p:cond delay="0"/>
                                  </p:stCondLst>
                                  <p:childTnLst>
                                    <p:set>
                                      <p:cBhvr>
                                        <p:cTn id="20" dur="1" fill="hold">
                                          <p:stCondLst>
                                            <p:cond delay="0"/>
                                          </p:stCondLst>
                                        </p:cTn>
                                        <p:tgtEl>
                                          <p:spTgt spid="655368"/>
                                        </p:tgtEl>
                                        <p:attrNameLst>
                                          <p:attrName>style.visibility</p:attrName>
                                        </p:attrNameLst>
                                      </p:cBhvr>
                                      <p:to>
                                        <p:strVal val="visible"/>
                                      </p:to>
                                    </p:set>
                                    <p:anim calcmode="lin" valueType="num">
                                      <p:cBhvr>
                                        <p:cTn id="21" dur="1000" fill="hold"/>
                                        <p:tgtEl>
                                          <p:spTgt spid="655368"/>
                                        </p:tgtEl>
                                        <p:attrNameLst>
                                          <p:attrName>ppt_w</p:attrName>
                                        </p:attrNameLst>
                                      </p:cBhvr>
                                      <p:tavLst>
                                        <p:tav tm="0">
                                          <p:val>
                                            <p:strVal val="#ppt_w+.3"/>
                                          </p:val>
                                        </p:tav>
                                        <p:tav tm="100000">
                                          <p:val>
                                            <p:strVal val="#ppt_w"/>
                                          </p:val>
                                        </p:tav>
                                      </p:tavLst>
                                    </p:anim>
                                    <p:anim calcmode="lin" valueType="num">
                                      <p:cBhvr>
                                        <p:cTn id="22" dur="1000" fill="hold"/>
                                        <p:tgtEl>
                                          <p:spTgt spid="655368"/>
                                        </p:tgtEl>
                                        <p:attrNameLst>
                                          <p:attrName>ppt_h</p:attrName>
                                        </p:attrNameLst>
                                      </p:cBhvr>
                                      <p:tavLst>
                                        <p:tav tm="0">
                                          <p:val>
                                            <p:strVal val="#ppt_h"/>
                                          </p:val>
                                        </p:tav>
                                        <p:tav tm="100000">
                                          <p:val>
                                            <p:strVal val="#ppt_h"/>
                                          </p:val>
                                        </p:tav>
                                      </p:tavLst>
                                    </p:anim>
                                    <p:animEffect transition="in" filter="fade">
                                      <p:cBhvr>
                                        <p:cTn id="23" dur="1000"/>
                                        <p:tgtEl>
                                          <p:spTgt spid="655368"/>
                                        </p:tgtEl>
                                      </p:cBhvr>
                                    </p:animEffect>
                                  </p:childTnLst>
                                </p:cTn>
                              </p:par>
                            </p:childTnLst>
                          </p:cTn>
                        </p:par>
                      </p:childTnLst>
                    </p:cTn>
                  </p:par>
                  <p:par>
                    <p:cTn id="24" fill="hold">
                      <p:stCondLst>
                        <p:cond delay="indefinite"/>
                      </p:stCondLst>
                      <p:childTnLst>
                        <p:par>
                          <p:cTn id="25" fill="hold" nodeType="withGroup">
                            <p:stCondLst>
                              <p:cond delay="0"/>
                            </p:stCondLst>
                            <p:childTnLst>
                              <p:par>
                                <p:cTn id="26" presetID="50" presetClass="entr" presetSubtype="0" decel="100000" fill="hold" grpId="0" nodeType="clickEffect">
                                  <p:stCondLst>
                                    <p:cond delay="0"/>
                                  </p:stCondLst>
                                  <p:childTnLst>
                                    <p:set>
                                      <p:cBhvr>
                                        <p:cTn id="27" dur="1" fill="hold">
                                          <p:stCondLst>
                                            <p:cond delay="0"/>
                                          </p:stCondLst>
                                        </p:cTn>
                                        <p:tgtEl>
                                          <p:spTgt spid="655372"/>
                                        </p:tgtEl>
                                        <p:attrNameLst>
                                          <p:attrName>style.visibility</p:attrName>
                                        </p:attrNameLst>
                                      </p:cBhvr>
                                      <p:to>
                                        <p:strVal val="visible"/>
                                      </p:to>
                                    </p:set>
                                    <p:anim calcmode="lin" valueType="num">
                                      <p:cBhvr>
                                        <p:cTn id="28" dur="1000" fill="hold"/>
                                        <p:tgtEl>
                                          <p:spTgt spid="655372"/>
                                        </p:tgtEl>
                                        <p:attrNameLst>
                                          <p:attrName>ppt_w</p:attrName>
                                        </p:attrNameLst>
                                      </p:cBhvr>
                                      <p:tavLst>
                                        <p:tav tm="0">
                                          <p:val>
                                            <p:strVal val="#ppt_w+.3"/>
                                          </p:val>
                                        </p:tav>
                                        <p:tav tm="100000">
                                          <p:val>
                                            <p:strVal val="#ppt_w"/>
                                          </p:val>
                                        </p:tav>
                                      </p:tavLst>
                                    </p:anim>
                                    <p:anim calcmode="lin" valueType="num">
                                      <p:cBhvr>
                                        <p:cTn id="29" dur="1000" fill="hold"/>
                                        <p:tgtEl>
                                          <p:spTgt spid="655372"/>
                                        </p:tgtEl>
                                        <p:attrNameLst>
                                          <p:attrName>ppt_h</p:attrName>
                                        </p:attrNameLst>
                                      </p:cBhvr>
                                      <p:tavLst>
                                        <p:tav tm="0">
                                          <p:val>
                                            <p:strVal val="#ppt_h"/>
                                          </p:val>
                                        </p:tav>
                                        <p:tav tm="100000">
                                          <p:val>
                                            <p:strVal val="#ppt_h"/>
                                          </p:val>
                                        </p:tav>
                                      </p:tavLst>
                                    </p:anim>
                                    <p:animEffect transition="in" filter="fade">
                                      <p:cBhvr>
                                        <p:cTn id="30" dur="1000"/>
                                        <p:tgtEl>
                                          <p:spTgt spid="655372"/>
                                        </p:tgtEl>
                                      </p:cBhvr>
                                    </p:animEffect>
                                  </p:childTnLst>
                                </p:cTn>
                              </p:par>
                            </p:childTnLst>
                          </p:cTn>
                        </p:par>
                      </p:childTnLst>
                    </p:cTn>
                  </p:par>
                  <p:par>
                    <p:cTn id="31" fill="hold">
                      <p:stCondLst>
                        <p:cond delay="indefinite"/>
                      </p:stCondLst>
                      <p:childTnLst>
                        <p:par>
                          <p:cTn id="32" fill="hold" nodeType="withGroup">
                            <p:stCondLst>
                              <p:cond delay="0"/>
                            </p:stCondLst>
                            <p:childTnLst>
                              <p:par>
                                <p:cTn id="33" presetID="6" presetClass="emph" presetSubtype="0" fill="hold" grpId="1" nodeType="clickEffect">
                                  <p:stCondLst>
                                    <p:cond delay="0"/>
                                  </p:stCondLst>
                                  <p:childTnLst>
                                    <p:animScale>
                                      <p:cBhvr>
                                        <p:cTn id="34" dur="2000" fill="hold"/>
                                        <p:tgtEl>
                                          <p:spTgt spid="655368"/>
                                        </p:tgtEl>
                                      </p:cBhvr>
                                      <p:by x="50000" y="50000"/>
                                    </p:animScale>
                                  </p:childTnLst>
                                </p:cTn>
                              </p:par>
                            </p:childTnLst>
                          </p:cTn>
                        </p:par>
                      </p:childTnLst>
                    </p:cTn>
                  </p:par>
                  <p:par>
                    <p:cTn id="35" fill="hold">
                      <p:stCondLst>
                        <p:cond delay="indefinite"/>
                      </p:stCondLst>
                      <p:childTnLst>
                        <p:par>
                          <p:cTn id="36" fill="hold" nodeType="withGroup">
                            <p:stCondLst>
                              <p:cond delay="0"/>
                            </p:stCondLst>
                            <p:childTnLst>
                              <p:par>
                                <p:cTn id="37" presetID="6" presetClass="emph" presetSubtype="0" fill="hold" grpId="1" nodeType="clickEffect">
                                  <p:stCondLst>
                                    <p:cond delay="0"/>
                                  </p:stCondLst>
                                  <p:childTnLst>
                                    <p:animScale>
                                      <p:cBhvr>
                                        <p:cTn id="38" dur="2000" fill="hold"/>
                                        <p:tgtEl>
                                          <p:spTgt spid="65536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5367" grpId="0" animBg="1"/>
      <p:bldP spid="655367" grpId="1" animBg="1"/>
      <p:bldP spid="655368" grpId="0" animBg="1"/>
      <p:bldP spid="655368" grpId="1" animBg="1"/>
      <p:bldP spid="655371" grpId="0"/>
      <p:bldP spid="655372"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2D05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3</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787400" y="685800"/>
            <a:ext cx="11277600" cy="28956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1701800" y="762000"/>
            <a:ext cx="9753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What’s one thing you want to learn or do as a result of today’s workshop?</a:t>
            </a:r>
          </a:p>
        </p:txBody>
      </p:sp>
      <p:pic>
        <p:nvPicPr>
          <p:cNvPr id="153602" name="Picture 2"/>
          <p:cNvPicPr>
            <a:picLocks noChangeAspect="1" noChangeArrowheads="1"/>
          </p:cNvPicPr>
          <p:nvPr/>
        </p:nvPicPr>
        <p:blipFill>
          <a:blip r:embed="rId3"/>
          <a:srcRect/>
          <a:stretch>
            <a:fillRect/>
          </a:stretch>
        </p:blipFill>
        <p:spPr bwMode="auto">
          <a:xfrm>
            <a:off x="2616200" y="4267200"/>
            <a:ext cx="3841717" cy="3962400"/>
          </a:xfrm>
          <a:prstGeom prst="rect">
            <a:avLst/>
          </a:prstGeom>
          <a:noFill/>
          <a:ln w="9525">
            <a:noFill/>
            <a:miter lim="800000"/>
            <a:headEnd/>
            <a:tailEnd/>
          </a:ln>
        </p:spPr>
      </p:pic>
      <p:sp>
        <p:nvSpPr>
          <p:cNvPr id="12" name="TextBox 11"/>
          <p:cNvSpPr txBox="1"/>
          <p:nvPr/>
        </p:nvSpPr>
        <p:spPr>
          <a:xfrm>
            <a:off x="6121400" y="4876800"/>
            <a:ext cx="5562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Record your answer on a sticky note</a:t>
            </a:r>
          </a:p>
        </p:txBody>
      </p:sp>
    </p:spTree>
    <p:custDataLst>
      <p:tags r:id="rId1"/>
    </p:custDataLst>
  </p:cSld>
  <p:clrMapOvr>
    <a:masterClrMapping/>
  </p:clrMapOvr>
  <p:transition spd="slow">
    <p:rand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0693400" y="9110133"/>
            <a:ext cx="3034453" cy="677333"/>
          </a:xfrm>
        </p:spPr>
        <p:txBody>
          <a:bodyPr/>
          <a:lstStyle/>
          <a:p>
            <a:pPr>
              <a:defRPr/>
            </a:pPr>
            <a:fld id="{7C0A6E37-841E-4E23-95AD-DF9C80D768D7}" type="slidenum">
              <a:rPr lang="en-US" smtClean="0">
                <a:solidFill>
                  <a:prstClr val="black"/>
                </a:solidFill>
              </a:rPr>
              <a:pPr>
                <a:defRPr/>
              </a:pPr>
              <a:t>30</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graphicFrame>
        <p:nvGraphicFramePr>
          <p:cNvPr id="7" name="Diagram 6"/>
          <p:cNvGraphicFramePr/>
          <p:nvPr/>
        </p:nvGraphicFramePr>
        <p:xfrm>
          <a:off x="1244600" y="1752600"/>
          <a:ext cx="10668000" cy="731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1244600" y="2275582"/>
            <a:ext cx="11049000" cy="1077218"/>
          </a:xfrm>
          <a:prstGeom prst="rect">
            <a:avLst/>
          </a:prstGeom>
        </p:spPr>
        <p:txBody>
          <a:bodyPr wrap="square">
            <a:spAutoFit/>
          </a:bodyPr>
          <a:lstStyle/>
          <a:p>
            <a:pPr algn="l"/>
            <a:r>
              <a:rPr lang="en-US" sz="3200" dirty="0">
                <a:solidFill>
                  <a:srgbClr val="0080C0"/>
                </a:solidFill>
                <a:latin typeface="+mn-lt"/>
              </a:rPr>
              <a:t>Traditional feedback usually flows from manager to employee, but managers represent just one source of information. </a:t>
            </a:r>
          </a:p>
        </p:txBody>
      </p:sp>
      <p:sp>
        <p:nvSpPr>
          <p:cNvPr id="12" name="Rectangle 11"/>
          <p:cNvSpPr/>
          <p:nvPr/>
        </p:nvSpPr>
        <p:spPr>
          <a:xfrm>
            <a:off x="1473200" y="7239000"/>
            <a:ext cx="10363200" cy="1569660"/>
          </a:xfrm>
          <a:prstGeom prst="rect">
            <a:avLst/>
          </a:prstGeom>
        </p:spPr>
        <p:txBody>
          <a:bodyPr wrap="square">
            <a:spAutoFit/>
          </a:bodyPr>
          <a:lstStyle/>
          <a:p>
            <a:pPr algn="l"/>
            <a:r>
              <a:rPr lang="en-US" sz="3200" dirty="0">
                <a:solidFill>
                  <a:srgbClr val="008080"/>
                </a:solidFill>
                <a:latin typeface="+mn-lt"/>
              </a:rPr>
              <a:t>Key work relationships (others) are another source.  People we work with regularly, might have new insights that are helpful to our performance and even our career.</a:t>
            </a:r>
          </a:p>
        </p:txBody>
      </p:sp>
      <p:sp>
        <p:nvSpPr>
          <p:cNvPr id="13" name="Title 9"/>
          <p:cNvSpPr>
            <a:spLocks noGrp="1"/>
          </p:cNvSpPr>
          <p:nvPr>
            <p:ph type="title"/>
          </p:nvPr>
        </p:nvSpPr>
        <p:spPr>
          <a:xfrm>
            <a:off x="0" y="127000"/>
            <a:ext cx="12750800" cy="1625600"/>
          </a:xfrm>
        </p:spPr>
        <p:txBody>
          <a:bodyPr>
            <a:normAutofit/>
          </a:bodyPr>
          <a:lstStyle/>
          <a:p>
            <a:r>
              <a:rPr lang="en-US" sz="4400" b="1" dirty="0"/>
              <a:t>Self-Driven Insight:  Your Network</a:t>
            </a:r>
            <a:endParaRPr lang="en-US" sz="9600" dirty="0"/>
          </a:p>
        </p:txBody>
      </p:sp>
    </p:spTree>
    <p:custDataLst>
      <p:tags r:id="rId1"/>
    </p:custDataLst>
  </p:cSld>
  <p:clrMapOvr>
    <a:masterClrMapping/>
  </p:clrMapOvr>
  <p:transition spd="slow">
    <p:rand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0"/>
            <a:ext cx="4597400" cy="97536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TextBox 10"/>
          <p:cNvSpPr txBox="1"/>
          <p:nvPr/>
        </p:nvSpPr>
        <p:spPr>
          <a:xfrm>
            <a:off x="406400" y="2133600"/>
            <a:ext cx="3810000" cy="3477875"/>
          </a:xfrm>
          <a:prstGeom prst="rect">
            <a:avLst/>
          </a:prstGeom>
          <a:noFill/>
          <a:ln>
            <a:noFill/>
          </a:ln>
        </p:spPr>
        <p:txBody>
          <a:bodyPr wrap="square" rtlCol="0">
            <a:spAutoFit/>
          </a:bodyPr>
          <a:lstStyle/>
          <a:p>
            <a:r>
              <a:rPr lang="en-US" sz="4400" b="1" dirty="0">
                <a:solidFill>
                  <a:schemeClr val="bg1"/>
                </a:solidFill>
                <a:latin typeface="+mn-lt"/>
                <a:cs typeface="Leelawadee" pitchFamily="34" charset="-34"/>
              </a:rPr>
              <a:t>Here are two ways to proactively gain new perspectives</a:t>
            </a:r>
          </a:p>
        </p:txBody>
      </p:sp>
      <p:sp>
        <p:nvSpPr>
          <p:cNvPr id="7" name="TextBox 6"/>
          <p:cNvSpPr txBox="1"/>
          <p:nvPr/>
        </p:nvSpPr>
        <p:spPr>
          <a:xfrm>
            <a:off x="4978400" y="1600200"/>
            <a:ext cx="7601246" cy="5139869"/>
          </a:xfrm>
          <a:prstGeom prst="rect">
            <a:avLst/>
          </a:prstGeom>
          <a:noFill/>
        </p:spPr>
        <p:txBody>
          <a:bodyPr wrap="square" rtlCol="0">
            <a:spAutoFit/>
          </a:bodyPr>
          <a:lstStyle/>
          <a:p>
            <a:pPr algn="l"/>
            <a:br>
              <a:rPr lang="en-US" b="1" dirty="0">
                <a:latin typeface="Leelawadee" pitchFamily="34" charset="-34"/>
                <a:cs typeface="Leelawadee" pitchFamily="34" charset="-34"/>
              </a:rPr>
            </a:br>
            <a:r>
              <a:rPr lang="en-US" b="1" dirty="0">
                <a:latin typeface="+mn-lt"/>
                <a:cs typeface="Leelawadee" pitchFamily="34" charset="-34"/>
              </a:rPr>
              <a:t>Asking</a:t>
            </a:r>
            <a:r>
              <a:rPr lang="en-US" dirty="0">
                <a:latin typeface="+mn-lt"/>
                <a:cs typeface="Leelawadee" pitchFamily="34" charset="-34"/>
              </a:rPr>
              <a:t>:</a:t>
            </a:r>
          </a:p>
          <a:p>
            <a:pPr marL="914400" indent="-914400" algn="l">
              <a:buAutoNum type="arabicPeriod"/>
            </a:pPr>
            <a:r>
              <a:rPr lang="en-US" sz="4800" dirty="0">
                <a:solidFill>
                  <a:srgbClr val="009999"/>
                </a:solidFill>
                <a:latin typeface="+mn-lt"/>
                <a:cs typeface="Leelawadee" pitchFamily="34" charset="-34"/>
              </a:rPr>
              <a:t>Clarifying Questions</a:t>
            </a:r>
          </a:p>
          <a:p>
            <a:pPr algn="l"/>
            <a:r>
              <a:rPr lang="en-US" sz="4800" dirty="0">
                <a:solidFill>
                  <a:srgbClr val="0070C0"/>
                </a:solidFill>
                <a:latin typeface="+mn-lt"/>
                <a:cs typeface="Leelawadee" pitchFamily="34" charset="-34"/>
              </a:rPr>
              <a:t>2.  One-Thing Questions</a:t>
            </a:r>
          </a:p>
          <a:p>
            <a:endParaRPr lang="en-US" dirty="0"/>
          </a:p>
          <a:p>
            <a:r>
              <a:rPr lang="en-US" dirty="0"/>
              <a:t> </a:t>
            </a:r>
          </a:p>
        </p:txBody>
      </p:sp>
      <p:sp>
        <p:nvSpPr>
          <p:cNvPr id="6" name="Slide Number Placeholder 5"/>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31</a:t>
            </a:fld>
            <a:endParaRPr lang="en-US" dirty="0">
              <a:solidFill>
                <a:prstClr val="black"/>
              </a:solidFill>
            </a:endParaRPr>
          </a:p>
        </p:txBody>
      </p:sp>
    </p:spTree>
    <p:custDataLst>
      <p:tags r:id="rId1"/>
    </p:custDataLst>
  </p:cSld>
  <p:clrMapOvr>
    <a:masterClrMapping/>
  </p:clrMapOvr>
  <p:transition spd="slow">
    <p:rand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1" name="Picture 5" descr="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6405" y="65476"/>
            <a:ext cx="216747" cy="216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2" name="Picture 7" descr="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6405" y="65476"/>
            <a:ext cx="216747" cy="216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3" name="Picture 9" descr="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6405" y="65476"/>
            <a:ext cx="216747" cy="216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4" name="Picture 11" descr="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6405" y="65476"/>
            <a:ext cx="216747" cy="216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5" name="Picture 12" descr="j043049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158" y="2133600"/>
            <a:ext cx="7127718" cy="7127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4"/>
          <p:cNvGrpSpPr/>
          <p:nvPr/>
        </p:nvGrpSpPr>
        <p:grpSpPr>
          <a:xfrm>
            <a:off x="2557273" y="1705352"/>
            <a:ext cx="5372888" cy="2991427"/>
            <a:chOff x="5296693" y="330816"/>
            <a:chExt cx="6502400" cy="3563626"/>
          </a:xfrm>
        </p:grpSpPr>
        <p:grpSp>
          <p:nvGrpSpPr>
            <p:cNvPr id="4" name="Group 25"/>
            <p:cNvGrpSpPr/>
            <p:nvPr/>
          </p:nvGrpSpPr>
          <p:grpSpPr>
            <a:xfrm>
              <a:off x="5913056" y="330816"/>
              <a:ext cx="4997832" cy="3563626"/>
              <a:chOff x="5913056" y="330816"/>
              <a:chExt cx="4997832" cy="3563626"/>
            </a:xfrm>
          </p:grpSpPr>
          <p:sp>
            <p:nvSpPr>
              <p:cNvPr id="28" name="Isosceles Triangle 27"/>
              <p:cNvSpPr/>
              <p:nvPr/>
            </p:nvSpPr>
            <p:spPr bwMode="auto">
              <a:xfrm rot="14384068">
                <a:off x="6438207" y="2362192"/>
                <a:ext cx="1007099" cy="2057402"/>
              </a:xfrm>
              <a:prstGeom prst="triangle">
                <a:avLst>
                  <a:gd name="adj" fmla="val 81727"/>
                </a:avLst>
              </a:prstGeom>
              <a:solidFill>
                <a:srgbClr val="33CCCC"/>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2711"/>
                <a:endParaRPr lang="en-US"/>
              </a:p>
            </p:txBody>
          </p:sp>
          <p:pic>
            <p:nvPicPr>
              <p:cNvPr id="29" name="Picture 4"/>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45200" y="330816"/>
                <a:ext cx="4865688" cy="3429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Rectangle 26"/>
            <p:cNvSpPr/>
            <p:nvPr/>
          </p:nvSpPr>
          <p:spPr>
            <a:xfrm>
              <a:off x="5296693" y="968534"/>
              <a:ext cx="6502400" cy="1246603"/>
            </a:xfrm>
            <a:prstGeom prst="rect">
              <a:avLst/>
            </a:prstGeom>
          </p:spPr>
          <p:txBody>
            <a:bodyPr>
              <a:spAutoFit/>
            </a:bodyPr>
            <a:lstStyle/>
            <a:p>
              <a:r>
                <a:rPr lang="en-US" sz="3100" b="1" dirty="0">
                  <a:solidFill>
                    <a:schemeClr val="bg1"/>
                  </a:solidFill>
                  <a:latin typeface="Leelawadee" panose="020B0502040204020203" pitchFamily="34" charset="-34"/>
                  <a:cs typeface="Leelawadee" panose="020B0502040204020203" pitchFamily="34" charset="-34"/>
                </a:rPr>
                <a:t>That was a </a:t>
              </a:r>
            </a:p>
            <a:p>
              <a:r>
                <a:rPr lang="en-US" sz="3100" b="1" dirty="0">
                  <a:solidFill>
                    <a:schemeClr val="bg1"/>
                  </a:solidFill>
                  <a:latin typeface="Leelawadee" panose="020B0502040204020203" pitchFamily="34" charset="-34"/>
                  <a:cs typeface="Leelawadee" panose="020B0502040204020203" pitchFamily="34" charset="-34"/>
                </a:rPr>
                <a:t>great presentation</a:t>
              </a:r>
            </a:p>
          </p:txBody>
        </p:sp>
      </p:grpSp>
      <p:grpSp>
        <p:nvGrpSpPr>
          <p:cNvPr id="5" name="Group 5"/>
          <p:cNvGrpSpPr/>
          <p:nvPr/>
        </p:nvGrpSpPr>
        <p:grpSpPr>
          <a:xfrm>
            <a:off x="0" y="4953000"/>
            <a:ext cx="5645698" cy="2389559"/>
            <a:chOff x="1033064" y="4020449"/>
            <a:chExt cx="5645698" cy="2389560"/>
          </a:xfrm>
        </p:grpSpPr>
        <p:grpSp>
          <p:nvGrpSpPr>
            <p:cNvPr id="6" name="Group 30"/>
            <p:cNvGrpSpPr/>
            <p:nvPr/>
          </p:nvGrpSpPr>
          <p:grpSpPr>
            <a:xfrm>
              <a:off x="2201463" y="4020449"/>
              <a:ext cx="4477299" cy="2389560"/>
              <a:chOff x="14455671" y="-3942537"/>
              <a:chExt cx="5418535" cy="2846634"/>
            </a:xfrm>
          </p:grpSpPr>
          <p:sp>
            <p:nvSpPr>
              <p:cNvPr id="33" name="Isosceles Triangle 32"/>
              <p:cNvSpPr/>
              <p:nvPr/>
            </p:nvSpPr>
            <p:spPr bwMode="auto">
              <a:xfrm rot="3918368">
                <a:off x="18341956" y="-4178628"/>
                <a:ext cx="1007099" cy="2057401"/>
              </a:xfrm>
              <a:prstGeom prst="triangle">
                <a:avLst>
                  <a:gd name="adj" fmla="val 81727"/>
                </a:avLst>
              </a:prstGeom>
              <a:solidFill>
                <a:schemeClr val="tx1"/>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2711"/>
                <a:endParaRPr lang="en-US"/>
              </a:p>
            </p:txBody>
          </p:sp>
          <p:pic>
            <p:nvPicPr>
              <p:cNvPr id="34" name="Picture 4"/>
              <p:cNvPicPr>
                <a:picLocks noChangeAspect="1" noChangeArrowheads="1"/>
              </p:cNvPicPr>
              <p:nvPr/>
            </p:nvPicPr>
            <p:blipFill>
              <a:blip r:embed="rId6">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14455671" y="-3942537"/>
                <a:ext cx="4038292" cy="2846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2" name="Rectangle 31"/>
            <p:cNvSpPr/>
            <p:nvPr/>
          </p:nvSpPr>
          <p:spPr>
            <a:xfrm>
              <a:off x="1033064" y="4670262"/>
              <a:ext cx="5372888" cy="569387"/>
            </a:xfrm>
            <a:prstGeom prst="rect">
              <a:avLst/>
            </a:prstGeom>
          </p:spPr>
          <p:txBody>
            <a:bodyPr>
              <a:spAutoFit/>
            </a:bodyPr>
            <a:lstStyle/>
            <a:p>
              <a:r>
                <a:rPr lang="en-US" sz="3100" b="1" dirty="0">
                  <a:solidFill>
                    <a:schemeClr val="bg1"/>
                  </a:solidFill>
                  <a:latin typeface="Leelawadee" panose="020B0502040204020203" pitchFamily="34" charset="-34"/>
                  <a:cs typeface="Leelawadee" panose="020B0502040204020203" pitchFamily="34" charset="-34"/>
                </a:rPr>
                <a:t>Thanks</a:t>
              </a:r>
            </a:p>
          </p:txBody>
        </p:sp>
      </p:grpSp>
      <p:sp>
        <p:nvSpPr>
          <p:cNvPr id="24" name="Rectangle 23"/>
          <p:cNvSpPr/>
          <p:nvPr/>
        </p:nvSpPr>
        <p:spPr bwMode="auto">
          <a:xfrm>
            <a:off x="8407400" y="0"/>
            <a:ext cx="4597400" cy="97536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TextBox 29"/>
          <p:cNvSpPr txBox="1"/>
          <p:nvPr/>
        </p:nvSpPr>
        <p:spPr>
          <a:xfrm>
            <a:off x="8559800" y="609898"/>
            <a:ext cx="4191000" cy="6740307"/>
          </a:xfrm>
          <a:prstGeom prst="rect">
            <a:avLst/>
          </a:prstGeom>
          <a:noFill/>
        </p:spPr>
        <p:txBody>
          <a:bodyPr wrap="square" rtlCol="0">
            <a:spAutoFit/>
          </a:bodyPr>
          <a:lstStyle/>
          <a:p>
            <a:r>
              <a:rPr lang="en-US" sz="3600" b="1" dirty="0">
                <a:solidFill>
                  <a:schemeClr val="bg1"/>
                </a:solidFill>
                <a:latin typeface="+mj-lt"/>
                <a:cs typeface="Leelawadee" pitchFamily="34" charset="-34"/>
              </a:rPr>
              <a:t>We give and receive positive, but general feedback.  </a:t>
            </a:r>
          </a:p>
          <a:p>
            <a:endParaRPr lang="en-US" sz="3600" b="1" dirty="0">
              <a:solidFill>
                <a:schemeClr val="bg1"/>
              </a:solidFill>
              <a:latin typeface="+mj-lt"/>
              <a:cs typeface="Leelawadee" pitchFamily="34" charset="-34"/>
            </a:endParaRPr>
          </a:p>
          <a:p>
            <a:br>
              <a:rPr lang="en-US" sz="3600" b="1" dirty="0">
                <a:solidFill>
                  <a:schemeClr val="bg1"/>
                </a:solidFill>
                <a:latin typeface="+mj-lt"/>
                <a:cs typeface="Leelawadee" pitchFamily="34" charset="-34"/>
              </a:rPr>
            </a:br>
            <a:r>
              <a:rPr lang="en-US" sz="3600" b="1" dirty="0">
                <a:solidFill>
                  <a:schemeClr val="bg1"/>
                </a:solidFill>
                <a:latin typeface="+mj-lt"/>
                <a:cs typeface="Leelawadee" pitchFamily="34" charset="-34"/>
              </a:rPr>
              <a:t>This is an opportunity to ask for clarification</a:t>
            </a:r>
          </a:p>
          <a:p>
            <a:endParaRPr lang="en-US" sz="3600" b="1" dirty="0">
              <a:solidFill>
                <a:schemeClr val="bg1"/>
              </a:solidFill>
              <a:latin typeface="+mj-lt"/>
              <a:cs typeface="Leelawadee" pitchFamily="34" charset="-34"/>
            </a:endParaRPr>
          </a:p>
          <a:p>
            <a:br>
              <a:rPr lang="en-US" sz="3600" b="1" dirty="0">
                <a:solidFill>
                  <a:schemeClr val="bg1"/>
                </a:solidFill>
                <a:latin typeface="+mj-lt"/>
                <a:cs typeface="Leelawadee" pitchFamily="34" charset="-34"/>
              </a:rPr>
            </a:br>
            <a:r>
              <a:rPr lang="en-US" sz="3600" b="1" dirty="0">
                <a:solidFill>
                  <a:schemeClr val="bg1"/>
                </a:solidFill>
                <a:latin typeface="+mj-lt"/>
                <a:cs typeface="Leelawadee" pitchFamily="34" charset="-34"/>
              </a:rPr>
              <a:t>Find out what you just did that worked</a:t>
            </a:r>
          </a:p>
        </p:txBody>
      </p:sp>
      <p:sp>
        <p:nvSpPr>
          <p:cNvPr id="35" name="Slide Number Placeholder 3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32</a:t>
            </a:fld>
            <a:endParaRPr lang="en-US" dirty="0">
              <a:solidFill>
                <a:prstClr val="black"/>
              </a:solidFill>
            </a:endParaRPr>
          </a:p>
        </p:txBody>
      </p:sp>
      <p:grpSp>
        <p:nvGrpSpPr>
          <p:cNvPr id="20" name="Group 5">
            <a:extLst>
              <a:ext uri="{FF2B5EF4-FFF2-40B4-BE49-F238E27FC236}">
                <a16:creationId xmlns:a16="http://schemas.microsoft.com/office/drawing/2014/main" id="{AD5BD68F-FEA5-44AD-AE84-F7940D675B5F}"/>
              </a:ext>
            </a:extLst>
          </p:cNvPr>
          <p:cNvGrpSpPr/>
          <p:nvPr/>
        </p:nvGrpSpPr>
        <p:grpSpPr>
          <a:xfrm>
            <a:off x="0" y="4879193"/>
            <a:ext cx="5645699" cy="2389559"/>
            <a:chOff x="1033064" y="3946642"/>
            <a:chExt cx="5645699" cy="2389560"/>
          </a:xfrm>
        </p:grpSpPr>
        <p:grpSp>
          <p:nvGrpSpPr>
            <p:cNvPr id="21" name="Group 30">
              <a:extLst>
                <a:ext uri="{FF2B5EF4-FFF2-40B4-BE49-F238E27FC236}">
                  <a16:creationId xmlns:a16="http://schemas.microsoft.com/office/drawing/2014/main" id="{2E89652A-18B2-4464-B14D-F3E5B1772C97}"/>
                </a:ext>
              </a:extLst>
            </p:cNvPr>
            <p:cNvGrpSpPr/>
            <p:nvPr/>
          </p:nvGrpSpPr>
          <p:grpSpPr>
            <a:xfrm>
              <a:off x="2172888" y="3946642"/>
              <a:ext cx="4505875" cy="2389560"/>
              <a:chOff x="14421088" y="-4030462"/>
              <a:chExt cx="5453118" cy="2846634"/>
            </a:xfrm>
          </p:grpSpPr>
          <p:sp>
            <p:nvSpPr>
              <p:cNvPr id="23" name="Isosceles Triangle 22">
                <a:extLst>
                  <a:ext uri="{FF2B5EF4-FFF2-40B4-BE49-F238E27FC236}">
                    <a16:creationId xmlns:a16="http://schemas.microsoft.com/office/drawing/2014/main" id="{0BED3B75-CB9E-4356-82DD-808A7F61AAF3}"/>
                  </a:ext>
                </a:extLst>
              </p:cNvPr>
              <p:cNvSpPr/>
              <p:nvPr/>
            </p:nvSpPr>
            <p:spPr bwMode="auto">
              <a:xfrm rot="3918368">
                <a:off x="18341956" y="-4178628"/>
                <a:ext cx="1007099" cy="2057401"/>
              </a:xfrm>
              <a:prstGeom prst="triangle">
                <a:avLst>
                  <a:gd name="adj" fmla="val 81727"/>
                </a:avLst>
              </a:prstGeom>
              <a:solidFill>
                <a:schemeClr val="tx1"/>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2711"/>
                <a:endParaRPr lang="en-US"/>
              </a:p>
            </p:txBody>
          </p:sp>
          <p:pic>
            <p:nvPicPr>
              <p:cNvPr id="25" name="Picture 4">
                <a:extLst>
                  <a:ext uri="{FF2B5EF4-FFF2-40B4-BE49-F238E27FC236}">
                    <a16:creationId xmlns:a16="http://schemas.microsoft.com/office/drawing/2014/main" id="{C55998DA-8A94-4354-8B8D-BE695214BC87}"/>
                  </a:ext>
                </a:extLst>
              </p:cNvPr>
              <p:cNvPicPr>
                <a:picLocks noChangeAspect="1" noChangeArrowheads="1"/>
              </p:cNvPicPr>
              <p:nvPr/>
            </p:nvPicPr>
            <p:blipFill>
              <a:blip r:embed="rId6">
                <a:clrChange>
                  <a:clrFrom>
                    <a:srgbClr val="FFFFFF"/>
                  </a:clrFrom>
                  <a:clrTo>
                    <a:srgbClr val="FFFFFF">
                      <a:alpha val="0"/>
                    </a:srgbClr>
                  </a:clrTo>
                </a:clrChange>
                <a:biLevel thresh="75000"/>
                <a:extLst>
                  <a:ext uri="{28A0092B-C50C-407E-A947-70E740481C1C}">
                    <a14:useLocalDpi xmlns:a14="http://schemas.microsoft.com/office/drawing/2010/main" val="0"/>
                  </a:ext>
                </a:extLst>
              </a:blip>
              <a:srcRect/>
              <a:stretch>
                <a:fillRect/>
              </a:stretch>
            </p:blipFill>
            <p:spPr bwMode="auto">
              <a:xfrm>
                <a:off x="14421088" y="-4030462"/>
                <a:ext cx="4038292" cy="2846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2" name="Rectangle 21">
              <a:extLst>
                <a:ext uri="{FF2B5EF4-FFF2-40B4-BE49-F238E27FC236}">
                  <a16:creationId xmlns:a16="http://schemas.microsoft.com/office/drawing/2014/main" id="{E0119670-761E-44E0-81FB-059241D19855}"/>
                </a:ext>
              </a:extLst>
            </p:cNvPr>
            <p:cNvSpPr/>
            <p:nvPr/>
          </p:nvSpPr>
          <p:spPr>
            <a:xfrm>
              <a:off x="1033064" y="4575510"/>
              <a:ext cx="5372888" cy="1046440"/>
            </a:xfrm>
            <a:prstGeom prst="rect">
              <a:avLst/>
            </a:prstGeom>
          </p:spPr>
          <p:txBody>
            <a:bodyPr>
              <a:spAutoFit/>
            </a:bodyPr>
            <a:lstStyle/>
            <a:p>
              <a:r>
                <a:rPr lang="en-US" sz="3100" b="1" dirty="0">
                  <a:solidFill>
                    <a:schemeClr val="bg1"/>
                  </a:solidFill>
                  <a:latin typeface="Leelawadee" panose="020B0502040204020203" pitchFamily="34" charset="-34"/>
                  <a:cs typeface="Leelawadee" panose="020B0502040204020203" pitchFamily="34" charset="-34"/>
                </a:rPr>
                <a:t>What did you</a:t>
              </a:r>
            </a:p>
            <a:p>
              <a:r>
                <a:rPr lang="en-US" sz="3100" b="1" dirty="0">
                  <a:solidFill>
                    <a:schemeClr val="bg1"/>
                  </a:solidFill>
                  <a:latin typeface="Leelawadee" panose="020B0502040204020203" pitchFamily="34" charset="-34"/>
                  <a:cs typeface="Leelawadee" panose="020B0502040204020203" pitchFamily="34" charset="-34"/>
                </a:rPr>
                <a:t> like about it?</a:t>
              </a:r>
            </a:p>
          </p:txBody>
        </p:sp>
      </p:grpSp>
      <p:cxnSp>
        <p:nvCxnSpPr>
          <p:cNvPr id="7" name="Straight Connector 6">
            <a:extLst>
              <a:ext uri="{FF2B5EF4-FFF2-40B4-BE49-F238E27FC236}">
                <a16:creationId xmlns:a16="http://schemas.microsoft.com/office/drawing/2014/main" id="{CC6BFF75-4EF4-4481-A569-D0E17955E31B}"/>
              </a:ext>
            </a:extLst>
          </p:cNvPr>
          <p:cNvCxnSpPr>
            <a:cxnSpLocks/>
          </p:cNvCxnSpPr>
          <p:nvPr/>
        </p:nvCxnSpPr>
        <p:spPr bwMode="auto">
          <a:xfrm>
            <a:off x="8843152" y="2819400"/>
            <a:ext cx="3602848"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 name="Straight Connector 30">
            <a:extLst>
              <a:ext uri="{FF2B5EF4-FFF2-40B4-BE49-F238E27FC236}">
                <a16:creationId xmlns:a16="http://schemas.microsoft.com/office/drawing/2014/main" id="{C487C416-2159-4A04-ADB4-2D7B46572D3E}"/>
              </a:ext>
            </a:extLst>
          </p:cNvPr>
          <p:cNvCxnSpPr>
            <a:cxnSpLocks/>
          </p:cNvCxnSpPr>
          <p:nvPr/>
        </p:nvCxnSpPr>
        <p:spPr bwMode="auto">
          <a:xfrm>
            <a:off x="8843152" y="5715000"/>
            <a:ext cx="3602848"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custDataLst>
      <p:tags r:id="rId1"/>
    </p:custDataLst>
    <p:extLst>
      <p:ext uri="{BB962C8B-B14F-4D97-AF65-F5344CB8AC3E}">
        <p14:creationId xmlns:p14="http://schemas.microsoft.com/office/powerpoint/2010/main" val="3855969331"/>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right)">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0"/>
            <a:ext cx="9753600" cy="45006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524" tIns="58263" rIns="116524" bIns="58263"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a:solidFill>
                <a:srgbClr val="FFFFFF"/>
              </a:solidFill>
              <a:cs typeface="Arial" pitchFamily="34" charset="0"/>
            </a:endParaRPr>
          </a:p>
        </p:txBody>
      </p:sp>
      <p:sp>
        <p:nvSpPr>
          <p:cNvPr id="41987" name="Rectangle 42"/>
          <p:cNvSpPr>
            <a:spLocks noChangeArrowheads="1"/>
          </p:cNvSpPr>
          <p:nvPr/>
        </p:nvSpPr>
        <p:spPr bwMode="auto">
          <a:xfrm>
            <a:off x="2692400" y="5121278"/>
            <a:ext cx="2910276" cy="4771246"/>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24" tIns="58263" rIns="116524" bIns="58263"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8" name="Rectangle 43"/>
          <p:cNvSpPr>
            <a:spLocks noChangeArrowheads="1"/>
          </p:cNvSpPr>
          <p:nvPr/>
        </p:nvSpPr>
        <p:spPr bwMode="auto">
          <a:xfrm>
            <a:off x="2692400" y="3928039"/>
            <a:ext cx="10312400" cy="1447259"/>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524" tIns="58263" rIns="116524" bIns="58263"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90" name="Text Box 7"/>
          <p:cNvSpPr txBox="1">
            <a:spLocks noChangeArrowheads="1"/>
          </p:cNvSpPr>
          <p:nvPr/>
        </p:nvSpPr>
        <p:spPr bwMode="auto">
          <a:xfrm>
            <a:off x="6617549" y="3657600"/>
            <a:ext cx="955039" cy="4300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24" tIns="58263" rIns="116524" bIns="58263">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r>
              <a:rPr lang="en-US" altLang="en-US" sz="15100" dirty="0">
                <a:solidFill>
                  <a:srgbClr val="000000"/>
                </a:solidFill>
                <a:latin typeface="Helvetica 65 Medium" pitchFamily="34" charset="0"/>
                <a:cs typeface="Arial" pitchFamily="34" charset="0"/>
              </a:rPr>
              <a:t>&gt;</a:t>
            </a:r>
          </a:p>
          <a:p>
            <a:pPr algn="l">
              <a:lnSpc>
                <a:spcPct val="90000"/>
              </a:lnSpc>
              <a:spcBef>
                <a:spcPct val="0"/>
              </a:spcBef>
              <a:buClrTx/>
              <a:buSzTx/>
              <a:buFontTx/>
              <a:buNone/>
            </a:pPr>
            <a:r>
              <a:rPr lang="en-US" altLang="en-US" sz="15100" dirty="0">
                <a:solidFill>
                  <a:srgbClr val="000000"/>
                </a:solidFill>
                <a:latin typeface="Helvetica 65 Medium" pitchFamily="34" charset="0"/>
                <a:cs typeface="Arial" pitchFamily="34" charset="0"/>
              </a:rPr>
              <a:t> </a:t>
            </a:r>
          </a:p>
        </p:txBody>
      </p:sp>
      <p:grpSp>
        <p:nvGrpSpPr>
          <p:cNvPr id="2" name="Group 1"/>
          <p:cNvGrpSpPr/>
          <p:nvPr/>
        </p:nvGrpSpPr>
        <p:grpSpPr>
          <a:xfrm>
            <a:off x="8014106" y="0"/>
            <a:ext cx="4965294" cy="11890325"/>
            <a:chOff x="8134776" y="79165"/>
            <a:chExt cx="4965293" cy="11890324"/>
          </a:xfrm>
          <a:solidFill>
            <a:srgbClr val="92D050"/>
          </a:solidFill>
        </p:grpSpPr>
        <p:sp>
          <p:nvSpPr>
            <p:cNvPr id="41989" name="Rectangle 4"/>
            <p:cNvSpPr>
              <a:spLocks noChangeArrowheads="1"/>
            </p:cNvSpPr>
            <p:nvPr/>
          </p:nvSpPr>
          <p:spPr bwMode="auto">
            <a:xfrm>
              <a:off x="8134776" y="4651675"/>
              <a:ext cx="4870025" cy="450271"/>
            </a:xfrm>
            <a:prstGeom prst="rect">
              <a:avLst/>
            </a:prstGeom>
            <a:grp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734" tIns="58366" rIns="116734" bIns="5836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a:solidFill>
                  <a:srgbClr val="FFFFFF"/>
                </a:solidFill>
                <a:cs typeface="Arial" pitchFamily="34" charset="0"/>
              </a:endParaRPr>
            </a:p>
          </p:txBody>
        </p:sp>
        <p:sp>
          <p:nvSpPr>
            <p:cNvPr id="41991" name="Text Box 8"/>
            <p:cNvSpPr txBox="1">
              <a:spLocks noChangeArrowheads="1"/>
            </p:cNvSpPr>
            <p:nvPr/>
          </p:nvSpPr>
          <p:spPr bwMode="auto">
            <a:xfrm>
              <a:off x="8134777" y="79165"/>
              <a:ext cx="4965292" cy="11890324"/>
            </a:xfrm>
            <a:prstGeom prst="rect">
              <a:avLst/>
            </a:prstGeom>
            <a:grpFill/>
            <a:ln>
              <a:noFill/>
            </a:ln>
            <a:effectLst/>
          </p:spPr>
          <p:txBody>
            <a:bodyPr wrap="square" lIns="116734" tIns="58366" rIns="116734" bIns="5836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cs typeface="Arial" pitchFamily="34" charset="0"/>
              </a:endParaRPr>
            </a:p>
            <a:p>
              <a:pPr>
                <a:lnSpc>
                  <a:spcPct val="90000"/>
                </a:lnSpc>
                <a:spcBef>
                  <a:spcPct val="0"/>
                </a:spcBef>
                <a:buClrTx/>
                <a:buSzTx/>
                <a:buFontTx/>
                <a:buNone/>
              </a:pPr>
              <a:endParaRPr lang="en-US" altLang="en-US" sz="6500" dirty="0">
                <a:solidFill>
                  <a:schemeClr val="bg1"/>
                </a:solidFill>
                <a:latin typeface="Leelawadee" pitchFamily="34" charset="-34"/>
                <a:cs typeface="Leelawadee" pitchFamily="34" charset="-34"/>
              </a:endParaRPr>
            </a:p>
            <a:p>
              <a:pPr>
                <a:lnSpc>
                  <a:spcPct val="90000"/>
                </a:lnSpc>
                <a:spcBef>
                  <a:spcPct val="0"/>
                </a:spcBef>
                <a:buClrTx/>
                <a:buSzTx/>
                <a:buFontTx/>
                <a:buNone/>
              </a:pPr>
              <a:endParaRPr lang="en-US" altLang="en-US" sz="6500" dirty="0">
                <a:solidFill>
                  <a:schemeClr val="bg1"/>
                </a:solidFill>
                <a:latin typeface="Leelawadee" pitchFamily="34" charset="-34"/>
                <a:cs typeface="Leelawadee" pitchFamily="34" charset="-34"/>
              </a:endParaRPr>
            </a:p>
            <a:p>
              <a:pPr>
                <a:lnSpc>
                  <a:spcPct val="90000"/>
                </a:lnSpc>
                <a:spcBef>
                  <a:spcPct val="0"/>
                </a:spcBef>
                <a:buClrTx/>
                <a:buSzTx/>
                <a:buFontTx/>
                <a:buNone/>
              </a:pPr>
              <a:r>
                <a:rPr lang="en-US" altLang="en-US" sz="6500" dirty="0">
                  <a:solidFill>
                    <a:schemeClr val="bg1"/>
                  </a:solidFill>
                  <a:latin typeface="Leelawadee" pitchFamily="34" charset="-34"/>
                  <a:cs typeface="Leelawadee" pitchFamily="34" charset="-34"/>
                </a:rPr>
                <a:t>Requesting Information</a:t>
              </a:r>
            </a:p>
            <a:p>
              <a:pPr>
                <a:lnSpc>
                  <a:spcPct val="90000"/>
                </a:lnSpc>
                <a:spcBef>
                  <a:spcPct val="0"/>
                </a:spcBef>
                <a:buClrTx/>
                <a:buSzTx/>
                <a:buFontTx/>
                <a:buNone/>
              </a:pPr>
              <a:endParaRPr lang="en-US" altLang="en-US" sz="3200" b="1" dirty="0">
                <a:solidFill>
                  <a:schemeClr val="bg1"/>
                </a:solidFill>
                <a:latin typeface="Leelawadee" pitchFamily="34" charset="-34"/>
                <a:cs typeface="Leelawadee" pitchFamily="34" charset="-34"/>
              </a:endParaRPr>
            </a:p>
            <a:p>
              <a:pPr>
                <a:lnSpc>
                  <a:spcPct val="90000"/>
                </a:lnSpc>
                <a:spcBef>
                  <a:spcPct val="0"/>
                </a:spcBef>
                <a:buClrTx/>
                <a:buSzTx/>
                <a:buFontTx/>
                <a:buNone/>
              </a:pPr>
              <a:r>
                <a:rPr lang="en-US" altLang="en-US" sz="3200" b="1" dirty="0">
                  <a:solidFill>
                    <a:schemeClr val="bg1"/>
                  </a:solidFill>
                  <a:latin typeface="Leelawadee" pitchFamily="34" charset="-34"/>
                  <a:cs typeface="Leelawadee" pitchFamily="34" charset="-34"/>
                </a:rPr>
                <a:t>The questions we ask</a:t>
              </a:r>
            </a:p>
            <a:p>
              <a:pPr>
                <a:lnSpc>
                  <a:spcPct val="90000"/>
                </a:lnSpc>
                <a:spcBef>
                  <a:spcPct val="0"/>
                </a:spcBef>
                <a:buClrTx/>
                <a:buSzTx/>
                <a:buFontTx/>
                <a:buNone/>
              </a:pPr>
              <a:r>
                <a:rPr lang="en-US" altLang="en-US" sz="3200" b="1" dirty="0">
                  <a:solidFill>
                    <a:schemeClr val="bg1"/>
                  </a:solidFill>
                  <a:latin typeface="Leelawadee" pitchFamily="34" charset="-34"/>
                  <a:cs typeface="Leelawadee" pitchFamily="34" charset="-34"/>
                </a:rPr>
                <a:t>influence the answers</a:t>
              </a:r>
              <a:br>
                <a:rPr lang="en-US" altLang="en-US" sz="3200" dirty="0">
                  <a:solidFill>
                    <a:schemeClr val="bg1"/>
                  </a:solidFill>
                  <a:latin typeface="Leelawadee" pitchFamily="34" charset="-34"/>
                  <a:cs typeface="Leelawadee" pitchFamily="34" charset="-34"/>
                </a:rPr>
              </a:br>
              <a:r>
                <a:rPr lang="en-US" altLang="en-US" sz="3200" dirty="0">
                  <a:solidFill>
                    <a:schemeClr val="bg1"/>
                  </a:solidFill>
                  <a:latin typeface="Leelawadee" pitchFamily="34" charset="-34"/>
                  <a:cs typeface="Leelawadee" pitchFamily="34" charset="-34"/>
                </a:rPr>
                <a:t> </a:t>
              </a:r>
              <a:r>
                <a:rPr lang="en-US" altLang="en-US" sz="3200" b="1" dirty="0">
                  <a:solidFill>
                    <a:schemeClr val="bg1"/>
                  </a:solidFill>
                  <a:latin typeface="Leelawadee" pitchFamily="34" charset="-34"/>
                  <a:cs typeface="Leelawadee" pitchFamily="34" charset="-34"/>
                </a:rPr>
                <a:t>we receive</a:t>
              </a: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grpSp>
      <p:sp>
        <p:nvSpPr>
          <p:cNvPr id="42017" name="Line 44"/>
          <p:cNvSpPr>
            <a:spLocks noChangeShapeType="1"/>
          </p:cNvSpPr>
          <p:nvPr/>
        </p:nvSpPr>
        <p:spPr bwMode="auto">
          <a:xfrm flipV="1">
            <a:off x="3683000" y="4495800"/>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24" tIns="58263" rIns="116524" bIns="58263" anchor="ctr">
            <a:spAutoFit/>
          </a:bodyPr>
          <a:lstStyle/>
          <a:p>
            <a:pPr algn="l"/>
            <a:endParaRPr lang="en-US" sz="3400">
              <a:solidFill>
                <a:srgbClr val="FFFFFF"/>
              </a:solidFill>
              <a:latin typeface="Arial" pitchFamily="34" charset="0"/>
              <a:cs typeface="Arial" pitchFamily="34" charset="0"/>
            </a:endParaRPr>
          </a:p>
        </p:txBody>
      </p:sp>
      <p:sp>
        <p:nvSpPr>
          <p:cNvPr id="42018" name="Line 45"/>
          <p:cNvSpPr>
            <a:spLocks noChangeShapeType="1"/>
          </p:cNvSpPr>
          <p:nvPr/>
        </p:nvSpPr>
        <p:spPr bwMode="auto">
          <a:xfrm flipH="1">
            <a:off x="3667759" y="4495800"/>
            <a:ext cx="2987041" cy="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24" tIns="58263" rIns="116524" bIns="58263" anchor="ctr">
            <a:spAutoFit/>
          </a:bodyPr>
          <a:lstStyle/>
          <a:p>
            <a:pPr algn="l"/>
            <a:endParaRPr lang="en-US" sz="3400">
              <a:solidFill>
                <a:srgbClr val="FFFFFF"/>
              </a:solidFill>
              <a:latin typeface="Arial" pitchFamily="34" charset="0"/>
              <a:cs typeface="Arial" pitchFamily="34" charset="0"/>
            </a:endParaRPr>
          </a:p>
        </p:txBody>
      </p:sp>
      <p:sp>
        <p:nvSpPr>
          <p:cNvPr id="12" name="Slide Number Placeholder 11"/>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33</a:t>
            </a:fld>
            <a:endParaRPr lang="en-US" dirty="0">
              <a:solidFill>
                <a:prstClr val="black"/>
              </a:solidFill>
            </a:endParaRPr>
          </a:p>
        </p:txBody>
      </p:sp>
      <p:sp>
        <p:nvSpPr>
          <p:cNvPr id="13" name="TextBox 12"/>
          <p:cNvSpPr txBox="1"/>
          <p:nvPr/>
        </p:nvSpPr>
        <p:spPr>
          <a:xfrm>
            <a:off x="8026400" y="3962400"/>
            <a:ext cx="4978400"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456821205"/>
      </p:ext>
    </p:extLst>
  </p:cSld>
  <p:clrMapOvr>
    <a:masterClrMapping/>
  </p:clrMapOvr>
  <p:transition spd="slow">
    <p:random/>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92D050"/>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34</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1854200" y="1905000"/>
            <a:ext cx="9220200" cy="51816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2692400" y="1981200"/>
            <a:ext cx="6705600" cy="4247181"/>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If I want to ask my manager how I am doing at work, what question should I ask?</a:t>
            </a:r>
          </a:p>
        </p:txBody>
      </p:sp>
    </p:spTree>
    <p:custDataLst>
      <p:tags r:id="rId1"/>
    </p:custDataLst>
  </p:cSld>
  <p:clrMapOvr>
    <a:masterClrMapping/>
  </p:clrMapOvr>
  <p:transition spd="slow">
    <p:random/>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854200" y="1854200"/>
            <a:ext cx="9753600" cy="6045200"/>
          </a:xfrm>
          <a:prstGeom prst="wedgeRectCallout">
            <a:avLst>
              <a:gd name="adj1" fmla="val -18999"/>
              <a:gd name="adj2" fmla="val 59541"/>
            </a:avLst>
          </a:prstGeom>
          <a:solidFill>
            <a:srgbClr val="33CCCC"/>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6172200"/>
            <a:ext cx="5969000" cy="984885"/>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How am I doing?</a:t>
            </a:r>
          </a:p>
        </p:txBody>
      </p:sp>
      <p:sp>
        <p:nvSpPr>
          <p:cNvPr id="8" name="TextBox 7"/>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854200" y="1854200"/>
            <a:ext cx="9753600" cy="6045200"/>
          </a:xfrm>
          <a:prstGeom prst="wedgeRectCallout">
            <a:avLst>
              <a:gd name="adj1" fmla="val -18999"/>
              <a:gd name="adj2" fmla="val 59541"/>
            </a:avLst>
          </a:prstGeom>
          <a:solidFill>
            <a:srgbClr val="33CCCC"/>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6731000" y="6019800"/>
            <a:ext cx="5969000" cy="1877437"/>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You’re doing great</a:t>
            </a:r>
          </a:p>
        </p:txBody>
      </p:sp>
      <p:sp>
        <p:nvSpPr>
          <p:cNvPr id="7" name="TextBox 6"/>
          <p:cNvSpPr txBox="1"/>
          <p:nvPr/>
        </p:nvSpPr>
        <p:spPr>
          <a:xfrm>
            <a:off x="6350000" y="7848600"/>
            <a:ext cx="6654800" cy="1200329"/>
          </a:xfrm>
          <a:prstGeom prst="rect">
            <a:avLst/>
          </a:prstGeom>
          <a:noFill/>
        </p:spPr>
        <p:txBody>
          <a:bodyPr wrap="square" rtlCol="0">
            <a:spAutoFit/>
          </a:bodyPr>
          <a:lstStyle/>
          <a:p>
            <a:r>
              <a:rPr lang="en-US" sz="7200" dirty="0">
                <a:solidFill>
                  <a:srgbClr val="33CCCC"/>
                </a:solidFill>
              </a:rPr>
              <a:t>………………….</a:t>
            </a:r>
            <a:endParaRPr lang="en-US" dirty="0">
              <a:solidFill>
                <a:srgbClr val="33CCCC"/>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625600" y="1625600"/>
            <a:ext cx="9753600" cy="6502400"/>
          </a:xfrm>
          <a:prstGeom prst="wedgeRectCallout">
            <a:avLst>
              <a:gd name="adj1" fmla="val -18999"/>
              <a:gd name="adj2" fmla="val 59541"/>
            </a:avLst>
          </a:prstGeom>
          <a:solidFill>
            <a:schemeClr val="accent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5867400"/>
            <a:ext cx="5969000" cy="1877437"/>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What can I do </a:t>
            </a:r>
          </a:p>
          <a:p>
            <a:r>
              <a:rPr lang="en-US" dirty="0">
                <a:latin typeface="Roboto Medium" pitchFamily="2" charset="0"/>
                <a:ea typeface="Roboto Medium" pitchFamily="2" charset="0"/>
                <a:cs typeface="Roboto Medium" pitchFamily="2" charset="0"/>
              </a:rPr>
              <a:t>better?</a:t>
            </a:r>
          </a:p>
        </p:txBody>
      </p:sp>
      <p:sp>
        <p:nvSpPr>
          <p:cNvPr id="5" name="TextBox 4"/>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625600" y="1625600"/>
            <a:ext cx="9753600" cy="6502400"/>
          </a:xfrm>
          <a:prstGeom prst="wedgeRectCallout">
            <a:avLst>
              <a:gd name="adj1" fmla="val -18999"/>
              <a:gd name="adj2" fmla="val 59541"/>
            </a:avLst>
          </a:prstGeom>
          <a:solidFill>
            <a:schemeClr val="accent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7340600" y="5638800"/>
            <a:ext cx="5664200" cy="1877437"/>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I can’t think of anything.</a:t>
            </a:r>
          </a:p>
        </p:txBody>
      </p:sp>
      <p:sp>
        <p:nvSpPr>
          <p:cNvPr id="8" name="TextBox 7"/>
          <p:cNvSpPr txBox="1"/>
          <p:nvPr/>
        </p:nvSpPr>
        <p:spPr>
          <a:xfrm>
            <a:off x="7340600" y="7391400"/>
            <a:ext cx="5664200" cy="1200329"/>
          </a:xfrm>
          <a:prstGeom prst="rect">
            <a:avLst/>
          </a:prstGeom>
          <a:noFill/>
        </p:spPr>
        <p:txBody>
          <a:bodyPr wrap="square" rtlCol="0">
            <a:spAutoFit/>
          </a:bodyPr>
          <a:lstStyle/>
          <a:p>
            <a:r>
              <a:rPr lang="en-US" sz="7200" dirty="0">
                <a:solidFill>
                  <a:schemeClr val="accent2"/>
                </a:solidFill>
              </a:rPr>
              <a:t>………………….</a:t>
            </a:r>
            <a:endParaRPr lang="en-US" dirty="0">
              <a:solidFill>
                <a:schemeClr val="accent2"/>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5638800"/>
            <a:ext cx="5969000" cy="2769989"/>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What did you think of my presentation?</a:t>
            </a:r>
          </a:p>
        </p:txBody>
      </p:sp>
      <p:sp>
        <p:nvSpPr>
          <p:cNvPr id="5" name="TextBox 4"/>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77800" y="3428999"/>
          <a:ext cx="12572999" cy="4191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13" descr="path.JPG"/>
          <p:cNvPicPr>
            <a:picLocks noChangeAspect="1"/>
          </p:cNvPicPr>
          <p:nvPr/>
        </p:nvPicPr>
        <p:blipFill>
          <a:blip r:embed="rId8" cstate="print"/>
          <a:stretch>
            <a:fillRect/>
          </a:stretch>
        </p:blipFill>
        <p:spPr>
          <a:xfrm>
            <a:off x="5511800" y="3352800"/>
            <a:ext cx="4305364" cy="3810001"/>
          </a:xfrm>
          <a:prstGeom prst="rect">
            <a:avLst/>
          </a:prstGeom>
          <a:solidFill>
            <a:srgbClr val="000000">
              <a:shade val="95000"/>
            </a:srgbClr>
          </a:solidFill>
          <a:ln w="76200" cap="sq">
            <a:solidFill>
              <a:srgbClr val="000000"/>
            </a:solidFill>
            <a:miter lim="800000"/>
          </a:ln>
          <a:effectLst>
            <a:outerShdw blurRad="254000" dist="190500" dir="2700000" sy="90000" algn="bl" rotWithShape="0">
              <a:srgbClr val="000000">
                <a:alpha val="40000"/>
              </a:srgbClr>
            </a:outerShdw>
          </a:effectLst>
        </p:spPr>
      </p:pic>
      <p:sp>
        <p:nvSpPr>
          <p:cNvPr id="23" name="TextBox 22"/>
          <p:cNvSpPr txBox="1"/>
          <p:nvPr/>
        </p:nvSpPr>
        <p:spPr>
          <a:xfrm>
            <a:off x="1320800" y="7260610"/>
            <a:ext cx="3276600" cy="2492990"/>
          </a:xfrm>
          <a:prstGeom prst="rect">
            <a:avLst/>
          </a:prstGeom>
          <a:noFill/>
        </p:spPr>
        <p:txBody>
          <a:bodyPr wrap="square" rtlCol="0">
            <a:spAutoFit/>
          </a:bodyPr>
          <a:lstStyle/>
          <a:p>
            <a:r>
              <a:rPr lang="en-US" sz="4000" b="1" dirty="0">
                <a:latin typeface="Calibri" pitchFamily="34" charset="0"/>
              </a:rPr>
              <a:t>Your Performance and Potential</a:t>
            </a:r>
          </a:p>
          <a:p>
            <a:endParaRPr lang="en-US" sz="3600" b="1" dirty="0">
              <a:latin typeface="Calibri" pitchFamily="34" charset="0"/>
            </a:endParaRPr>
          </a:p>
        </p:txBody>
      </p:sp>
      <p:sp>
        <p:nvSpPr>
          <p:cNvPr id="9" name="TextBox 8"/>
          <p:cNvSpPr txBox="1"/>
          <p:nvPr/>
        </p:nvSpPr>
        <p:spPr>
          <a:xfrm>
            <a:off x="254000" y="457200"/>
            <a:ext cx="12268200" cy="1754326"/>
          </a:xfrm>
          <a:prstGeom prst="rect">
            <a:avLst/>
          </a:prstGeom>
          <a:noFill/>
        </p:spPr>
        <p:txBody>
          <a:bodyPr wrap="square" rtlCol="0">
            <a:spAutoFit/>
          </a:bodyPr>
          <a:lstStyle/>
          <a:p>
            <a:r>
              <a:rPr lang="en-US" sz="5400" b="1" dirty="0">
                <a:solidFill>
                  <a:srgbClr val="30C5C2"/>
                </a:solidFill>
                <a:latin typeface="Leelawadee" pitchFamily="34" charset="-34"/>
                <a:cs typeface="Leelawadee" pitchFamily="34" charset="-34"/>
              </a:rPr>
              <a:t>2 Models for Visualizing Your</a:t>
            </a:r>
            <a:endParaRPr lang="en-US" sz="4400" b="1" dirty="0">
              <a:solidFill>
                <a:srgbClr val="30C5C2"/>
              </a:solidFill>
              <a:latin typeface="Leelawadee" pitchFamily="34" charset="-34"/>
              <a:cs typeface="Leelawadee" pitchFamily="34" charset="-34"/>
            </a:endParaRPr>
          </a:p>
          <a:p>
            <a:r>
              <a:rPr lang="en-US" sz="5400" b="1" dirty="0">
                <a:latin typeface="Leelawadee" pitchFamily="34" charset="-34"/>
                <a:cs typeface="Leelawadee" pitchFamily="34" charset="-34"/>
              </a:rPr>
              <a:t>Performance, Potential, and  Career</a:t>
            </a:r>
          </a:p>
        </p:txBody>
      </p:sp>
      <p:sp>
        <p:nvSpPr>
          <p:cNvPr id="10" name="Footer Placeholder 4"/>
          <p:cNvSpPr>
            <a:spLocks noGrp="1"/>
          </p:cNvSpPr>
          <p:nvPr>
            <p:ph type="ftr" sz="quarter" idx="3"/>
          </p:nvPr>
        </p:nvSpPr>
        <p:spPr>
          <a:xfrm>
            <a:off x="-50800" y="9386888"/>
            <a:ext cx="8458199" cy="519112"/>
          </a:xfrm>
        </p:spPr>
        <p:txBody>
          <a:bodyPr/>
          <a:lstStyle/>
          <a:p>
            <a:r>
              <a:rPr lang="en-US" dirty="0"/>
              <a:t>©2017 copyright Employee Performance Solutions, LLC  All Rights Reserved | For Use Within Client Organization</a:t>
            </a:r>
          </a:p>
        </p:txBody>
      </p:sp>
      <p:pic>
        <p:nvPicPr>
          <p:cNvPr id="109569" name="Picture 1"/>
          <p:cNvPicPr>
            <a:picLocks noChangeAspect="1" noChangeArrowheads="1"/>
          </p:cNvPicPr>
          <p:nvPr/>
        </p:nvPicPr>
        <p:blipFill>
          <a:blip r:embed="rId9"/>
          <a:srcRect/>
          <a:stretch>
            <a:fillRect/>
          </a:stretch>
        </p:blipFill>
        <p:spPr bwMode="auto">
          <a:xfrm>
            <a:off x="939800" y="3352800"/>
            <a:ext cx="4069492" cy="3764280"/>
          </a:xfrm>
          <a:prstGeom prst="rect">
            <a:avLst/>
          </a:prstGeom>
          <a:noFill/>
          <a:ln w="9525">
            <a:noFill/>
            <a:miter lim="800000"/>
            <a:headEnd/>
            <a:tailEnd/>
          </a:ln>
          <a:effectLst>
            <a:glow rad="101600">
              <a:schemeClr val="bg1">
                <a:alpha val="60000"/>
              </a:schemeClr>
            </a:glow>
            <a:softEdge rad="31750"/>
          </a:effectLst>
        </p:spPr>
      </p:pic>
      <p:sp>
        <p:nvSpPr>
          <p:cNvPr id="11" name="TextBox 10"/>
          <p:cNvSpPr txBox="1"/>
          <p:nvPr/>
        </p:nvSpPr>
        <p:spPr>
          <a:xfrm>
            <a:off x="6045200" y="7445276"/>
            <a:ext cx="3276600" cy="1877437"/>
          </a:xfrm>
          <a:prstGeom prst="rect">
            <a:avLst/>
          </a:prstGeom>
          <a:noFill/>
        </p:spPr>
        <p:txBody>
          <a:bodyPr wrap="square" rtlCol="0">
            <a:spAutoFit/>
          </a:bodyPr>
          <a:lstStyle/>
          <a:p>
            <a:r>
              <a:rPr lang="en-US" sz="4000" b="1" dirty="0">
                <a:latin typeface="Calibri" pitchFamily="34" charset="0"/>
              </a:rPr>
              <a:t>Your </a:t>
            </a:r>
            <a:br>
              <a:rPr lang="en-US" sz="4000" b="1" dirty="0">
                <a:latin typeface="Calibri" pitchFamily="34" charset="0"/>
              </a:rPr>
            </a:br>
            <a:r>
              <a:rPr lang="en-US" sz="4000" b="1" dirty="0">
                <a:latin typeface="Calibri" pitchFamily="34" charset="0"/>
              </a:rPr>
              <a:t>Career</a:t>
            </a:r>
          </a:p>
          <a:p>
            <a:endParaRPr lang="en-US" sz="3600" b="1" dirty="0">
              <a:latin typeface="Calibri" pitchFamily="34" charset="0"/>
            </a:endParaRPr>
          </a:p>
        </p:txBody>
      </p:sp>
    </p:spTree>
    <p:custDataLst>
      <p:tags r:id="rId1"/>
    </p:custDataLst>
    <p:extLst>
      <p:ext uri="{BB962C8B-B14F-4D97-AF65-F5344CB8AC3E}">
        <p14:creationId xmlns:p14="http://schemas.microsoft.com/office/powerpoint/2010/main" val="3483561017"/>
      </p:ext>
    </p:extLst>
  </p:cSld>
  <p:clrMapOvr>
    <a:masterClrMapping/>
  </p:clrMapOvr>
  <p:transition spd="slow">
    <p:random/>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7188200" y="6019800"/>
            <a:ext cx="5283200" cy="1877437"/>
          </a:xfrm>
          <a:prstGeom prst="rect">
            <a:avLst/>
          </a:prstGeom>
          <a:noFill/>
        </p:spPr>
        <p:txBody>
          <a:bodyPr wrap="square" rtlCol="0">
            <a:spAutoFit/>
          </a:bodyPr>
          <a:lstStyle/>
          <a:p>
            <a:r>
              <a:rPr lang="en-US" dirty="0">
                <a:latin typeface="Roboto Medium" pitchFamily="2" charset="0"/>
                <a:ea typeface="Roboto Medium" pitchFamily="2" charset="0"/>
                <a:cs typeface="Roboto Medium" pitchFamily="2" charset="0"/>
              </a:rPr>
              <a:t>It was really </a:t>
            </a:r>
            <a:br>
              <a:rPr lang="en-US" dirty="0">
                <a:latin typeface="Roboto Medium" pitchFamily="2" charset="0"/>
                <a:ea typeface="Roboto Medium" pitchFamily="2" charset="0"/>
                <a:cs typeface="Roboto Medium" pitchFamily="2" charset="0"/>
              </a:rPr>
            </a:br>
            <a:r>
              <a:rPr lang="en-US" dirty="0">
                <a:latin typeface="Roboto Medium" pitchFamily="2" charset="0"/>
                <a:ea typeface="Roboto Medium" pitchFamily="2" charset="0"/>
                <a:cs typeface="Roboto Medium" pitchFamily="2" charset="0"/>
              </a:rPr>
              <a:t>good.</a:t>
            </a:r>
          </a:p>
        </p:txBody>
      </p:sp>
      <p:sp>
        <p:nvSpPr>
          <p:cNvPr id="8" name="TextBox 7"/>
          <p:cNvSpPr txBox="1"/>
          <p:nvPr/>
        </p:nvSpPr>
        <p:spPr>
          <a:xfrm>
            <a:off x="7035800" y="7848600"/>
            <a:ext cx="5969000" cy="1200329"/>
          </a:xfrm>
          <a:prstGeom prst="rect">
            <a:avLst/>
          </a:prstGeom>
          <a:noFill/>
        </p:spPr>
        <p:txBody>
          <a:bodyPr wrap="square" rtlCol="0">
            <a:spAutoFit/>
          </a:bodyPr>
          <a:lstStyle/>
          <a:p>
            <a:r>
              <a:rPr lang="en-US" sz="7200" dirty="0">
                <a:solidFill>
                  <a:srgbClr val="92D050"/>
                </a:solidFill>
              </a:rPr>
              <a:t>………………….</a:t>
            </a:r>
            <a:endParaRPr lang="en-US" dirty="0">
              <a:solidFill>
                <a:srgbClr val="92D050"/>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rgbClr val="33CCCC"/>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5638800"/>
            <a:ext cx="5969000" cy="1877437"/>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What can I do differently?</a:t>
            </a:r>
          </a:p>
        </p:txBody>
      </p:sp>
      <p:sp>
        <p:nvSpPr>
          <p:cNvPr id="5" name="TextBox 4"/>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968500" y="1968500"/>
            <a:ext cx="9753600" cy="5816600"/>
          </a:xfrm>
          <a:prstGeom prst="wedgeRectCallout">
            <a:avLst>
              <a:gd name="adj1" fmla="val -18999"/>
              <a:gd name="adj2" fmla="val 59541"/>
            </a:avLst>
          </a:prstGeom>
          <a:solidFill>
            <a:srgbClr val="33CCCC"/>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6654800" y="5410200"/>
            <a:ext cx="5892800" cy="2769989"/>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Nothing, just keep doing what you are doing.</a:t>
            </a:r>
          </a:p>
        </p:txBody>
      </p:sp>
      <p:sp>
        <p:nvSpPr>
          <p:cNvPr id="8" name="TextBox 7"/>
          <p:cNvSpPr txBox="1"/>
          <p:nvPr/>
        </p:nvSpPr>
        <p:spPr>
          <a:xfrm>
            <a:off x="6121400" y="7848600"/>
            <a:ext cx="6883400" cy="1200329"/>
          </a:xfrm>
          <a:prstGeom prst="rect">
            <a:avLst/>
          </a:prstGeom>
          <a:noFill/>
        </p:spPr>
        <p:txBody>
          <a:bodyPr wrap="square" rtlCol="0">
            <a:spAutoFit/>
          </a:bodyPr>
          <a:lstStyle/>
          <a:p>
            <a:r>
              <a:rPr lang="en-US" sz="7200" dirty="0">
                <a:solidFill>
                  <a:srgbClr val="30C5C2"/>
                </a:solidFill>
              </a:rPr>
              <a:t>………………….</a:t>
            </a:r>
            <a:endParaRPr lang="en-US" dirty="0">
              <a:solidFill>
                <a:srgbClr val="30C5C2"/>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chemeClr val="accent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5638800"/>
            <a:ext cx="5969000" cy="2769989"/>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How is everything going?</a:t>
            </a:r>
          </a:p>
        </p:txBody>
      </p:sp>
      <p:sp>
        <p:nvSpPr>
          <p:cNvPr id="5" name="TextBox 4"/>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chemeClr val="accent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6731000" y="5334000"/>
            <a:ext cx="6731000" cy="2769989"/>
          </a:xfrm>
          <a:prstGeom prst="rect">
            <a:avLst/>
          </a:prstGeom>
          <a:noFill/>
        </p:spPr>
        <p:txBody>
          <a:bodyPr wrap="square" rtlCol="0">
            <a:spAutoFit/>
          </a:bodyPr>
          <a:lstStyle/>
          <a:p>
            <a:r>
              <a:rPr lang="en-US" dirty="0">
                <a:latin typeface="Roboto Medium" pitchFamily="2" charset="0"/>
                <a:ea typeface="Roboto Medium" pitchFamily="2" charset="0"/>
                <a:cs typeface="Roboto Medium" pitchFamily="2" charset="0"/>
              </a:rPr>
              <a:t>Good </a:t>
            </a:r>
          </a:p>
          <a:p>
            <a:r>
              <a:rPr lang="en-US" dirty="0">
                <a:latin typeface="Roboto Medium" pitchFamily="2" charset="0"/>
                <a:ea typeface="Roboto Medium" pitchFamily="2" charset="0"/>
                <a:cs typeface="Roboto Medium" pitchFamily="2" charset="0"/>
              </a:rPr>
              <a:t>or </a:t>
            </a:r>
          </a:p>
          <a:p>
            <a:r>
              <a:rPr lang="en-US" dirty="0">
                <a:latin typeface="Roboto Medium" pitchFamily="2" charset="0"/>
                <a:ea typeface="Roboto Medium" pitchFamily="2" charset="0"/>
                <a:cs typeface="Roboto Medium" pitchFamily="2" charset="0"/>
              </a:rPr>
              <a:t>Great</a:t>
            </a:r>
          </a:p>
        </p:txBody>
      </p:sp>
      <p:sp>
        <p:nvSpPr>
          <p:cNvPr id="8" name="TextBox 7"/>
          <p:cNvSpPr txBox="1"/>
          <p:nvPr/>
        </p:nvSpPr>
        <p:spPr>
          <a:xfrm>
            <a:off x="7340600" y="7848600"/>
            <a:ext cx="5664200" cy="1200329"/>
          </a:xfrm>
          <a:prstGeom prst="rect">
            <a:avLst/>
          </a:prstGeom>
          <a:noFill/>
        </p:spPr>
        <p:txBody>
          <a:bodyPr wrap="square" rtlCol="0">
            <a:spAutoFit/>
          </a:bodyPr>
          <a:lstStyle/>
          <a:p>
            <a:r>
              <a:rPr lang="en-US" sz="7200" dirty="0">
                <a:solidFill>
                  <a:schemeClr val="accent2"/>
                </a:solidFill>
              </a:rPr>
              <a:t>………………….</a:t>
            </a:r>
            <a:endParaRPr lang="en-US" dirty="0">
              <a:solidFill>
                <a:schemeClr val="accent2"/>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TextBox 3"/>
          <p:cNvSpPr txBox="1"/>
          <p:nvPr/>
        </p:nvSpPr>
        <p:spPr>
          <a:xfrm>
            <a:off x="0" y="5638800"/>
            <a:ext cx="5969000" cy="1877437"/>
          </a:xfrm>
          <a:prstGeom prst="rect">
            <a:avLst/>
          </a:prstGeom>
          <a:solidFill>
            <a:schemeClr val="bg1"/>
          </a:solidFill>
        </p:spPr>
        <p:txBody>
          <a:bodyPr wrap="square" rtlCol="0">
            <a:spAutoFit/>
          </a:bodyPr>
          <a:lstStyle/>
          <a:p>
            <a:r>
              <a:rPr lang="en-US" dirty="0">
                <a:latin typeface="Roboto Medium" pitchFamily="2" charset="0"/>
                <a:ea typeface="Roboto Medium" pitchFamily="2" charset="0"/>
                <a:cs typeface="Roboto Medium" pitchFamily="2" charset="0"/>
              </a:rPr>
              <a:t>What should I stop doing?</a:t>
            </a:r>
          </a:p>
        </p:txBody>
      </p:sp>
      <p:sp>
        <p:nvSpPr>
          <p:cNvPr id="5" name="TextBox 4"/>
          <p:cNvSpPr txBox="1"/>
          <p:nvPr/>
        </p:nvSpPr>
        <p:spPr>
          <a:xfrm rot="16200000">
            <a:off x="2073365" y="2676435"/>
            <a:ext cx="6553202" cy="1200329"/>
          </a:xfrm>
          <a:prstGeom prst="rect">
            <a:avLst/>
          </a:prstGeom>
          <a:noFill/>
        </p:spPr>
        <p:txBody>
          <a:bodyPr wrap="square" rtlCol="0">
            <a:spAutoFit/>
          </a:bodyPr>
          <a:lstStyle/>
          <a:p>
            <a:r>
              <a:rPr lang="en-US" sz="7200" dirty="0">
                <a:solidFill>
                  <a:schemeClr val="bg1"/>
                </a:solidFill>
              </a:rPr>
              <a:t>………………….</a:t>
            </a:r>
            <a:endParaRPr lang="en-US" dirty="0">
              <a:solidFill>
                <a:schemeClr val="bg1"/>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sp>
        <p:nvSpPr>
          <p:cNvPr id="6" name="Rectangular Callout 5"/>
          <p:cNvSpPr/>
          <p:nvPr/>
        </p:nvSpPr>
        <p:spPr bwMode="auto">
          <a:xfrm rot="16200000">
            <a:off x="-1473200" y="1473200"/>
            <a:ext cx="9753600" cy="6807200"/>
          </a:xfrm>
          <a:prstGeom prst="wedgeRectCallout">
            <a:avLst>
              <a:gd name="adj1" fmla="val -18999"/>
              <a:gd name="adj2" fmla="val 59541"/>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7493000" y="5715000"/>
            <a:ext cx="5435600" cy="1877437"/>
          </a:xfrm>
          <a:prstGeom prst="rect">
            <a:avLst/>
          </a:prstGeom>
          <a:noFill/>
        </p:spPr>
        <p:txBody>
          <a:bodyPr wrap="square" rtlCol="0">
            <a:spAutoFit/>
          </a:bodyPr>
          <a:lstStyle/>
          <a:p>
            <a:r>
              <a:rPr lang="en-US" dirty="0">
                <a:latin typeface="Roboto Medium" pitchFamily="2" charset="0"/>
                <a:ea typeface="Roboto Medium" pitchFamily="2" charset="0"/>
                <a:cs typeface="Roboto Medium" pitchFamily="2" charset="0"/>
              </a:rPr>
              <a:t>Stop asking so many questions</a:t>
            </a:r>
          </a:p>
        </p:txBody>
      </p:sp>
      <p:sp>
        <p:nvSpPr>
          <p:cNvPr id="8" name="TextBox 7"/>
          <p:cNvSpPr txBox="1"/>
          <p:nvPr/>
        </p:nvSpPr>
        <p:spPr>
          <a:xfrm>
            <a:off x="6807200" y="7391400"/>
            <a:ext cx="6553202" cy="1200329"/>
          </a:xfrm>
          <a:prstGeom prst="rect">
            <a:avLst/>
          </a:prstGeom>
          <a:noFill/>
        </p:spPr>
        <p:txBody>
          <a:bodyPr wrap="square" rtlCol="0">
            <a:spAutoFit/>
          </a:bodyPr>
          <a:lstStyle/>
          <a:p>
            <a:r>
              <a:rPr lang="en-US" sz="7200" dirty="0">
                <a:solidFill>
                  <a:srgbClr val="92D050"/>
                </a:solidFill>
              </a:rPr>
              <a:t>………………….</a:t>
            </a:r>
            <a:endParaRPr lang="en-US" dirty="0">
              <a:solidFill>
                <a:srgbClr val="92D050"/>
              </a:solidFill>
            </a:endParaRPr>
          </a:p>
        </p:txBody>
      </p:sp>
    </p:spTree>
    <p:custDataLst>
      <p:tags r:id="rId1"/>
    </p:custDataLst>
    <p:extLst>
      <p:ext uri="{BB962C8B-B14F-4D97-AF65-F5344CB8AC3E}">
        <p14:creationId xmlns:p14="http://schemas.microsoft.com/office/powerpoint/2010/main" val="376967596"/>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a:blip r:embed="rId4">
            <a:grayscl/>
            <a:extLst>
              <a:ext uri="{28A0092B-C50C-407E-A947-70E740481C1C}">
                <a14:useLocalDpi xmlns:a14="http://schemas.microsoft.com/office/drawing/2010/main" val="0"/>
              </a:ext>
            </a:extLst>
          </a:blip>
          <a:srcRect l="893" r="893"/>
          <a:stretch>
            <a:fillRect/>
          </a:stretch>
        </p:blipFill>
        <p:spPr>
          <a:xfrm>
            <a:off x="0" y="0"/>
            <a:ext cx="13004800" cy="9753600"/>
          </a:xfrm>
          <a:solidFill>
            <a:srgbClr val="33CCCC"/>
          </a:solidFill>
          <a:ln w="25400" cap="flat" cmpd="sng" algn="ctr">
            <a:noFill/>
            <a:prstDash val="solid"/>
            <a:round/>
            <a:headEnd type="none" w="med" len="med"/>
            <a:tailEnd type="none" w="med" len="med"/>
          </a:ln>
          <a:effectLst/>
        </p:spPr>
      </p:pic>
      <p:sp>
        <p:nvSpPr>
          <p:cNvPr id="6" name="TextBox 5"/>
          <p:cNvSpPr txBox="1"/>
          <p:nvPr/>
        </p:nvSpPr>
        <p:spPr>
          <a:xfrm>
            <a:off x="1511351" y="4180769"/>
            <a:ext cx="3276599" cy="1877437"/>
          </a:xfrm>
          <a:prstGeom prst="rect">
            <a:avLst/>
          </a:prstGeom>
          <a:noFill/>
        </p:spPr>
        <p:txBody>
          <a:bodyPr wrap="square" lIns="91273" tIns="45631" rIns="91273" bIns="45631" rtlCol="0">
            <a:spAutoFit/>
          </a:bodyPr>
          <a:lstStyle/>
          <a:p>
            <a:r>
              <a:rPr lang="en-US" b="1" dirty="0">
                <a:latin typeface="Leelawadee" panose="020B0502040204020203" pitchFamily="34" charset="-34"/>
                <a:cs typeface="Leelawadee" panose="020B0502040204020203" pitchFamily="34" charset="-34"/>
              </a:rPr>
              <a:t>I don’t know</a:t>
            </a:r>
          </a:p>
        </p:txBody>
      </p:sp>
      <p:sp>
        <p:nvSpPr>
          <p:cNvPr id="15" name="Isosceles Triangle 14"/>
          <p:cNvSpPr/>
          <p:nvPr/>
        </p:nvSpPr>
        <p:spPr bwMode="auto">
          <a:xfrm rot="5400000">
            <a:off x="10213973" y="6763853"/>
            <a:ext cx="2768600" cy="2887324"/>
          </a:xfrm>
          <a:prstGeom prst="triangle">
            <a:avLst/>
          </a:prstGeom>
          <a:solidFill>
            <a:srgbClr val="33CCCC"/>
          </a:solidFill>
          <a:ln w="25400" cap="flat" cmpd="sng" algn="ctr">
            <a:noFill/>
            <a:prstDash val="solid"/>
            <a:round/>
            <a:headEnd type="none" w="med" len="med"/>
            <a:tailEnd type="none" w="med" len="med"/>
          </a:ln>
          <a:effectLst/>
          <a:extLst/>
        </p:spPr>
        <p:txBody>
          <a:bodyPr vert="horz" wrap="square" lIns="91273" tIns="45631" rIns="91273" bIns="45631" numCol="1" spcCol="0" rtlCol="0" anchor="t" anchorCtr="0" compatLnSpc="1">
            <a:prstTxWarp prst="textNoShape">
              <a:avLst/>
            </a:prstTxWarp>
          </a:bodyPr>
          <a:lstStyle/>
          <a:p>
            <a:pPr defTabSz="912711"/>
            <a:endParaRPr lang="en-US"/>
          </a:p>
        </p:txBody>
      </p:sp>
      <p:grpSp>
        <p:nvGrpSpPr>
          <p:cNvPr id="16412" name="Group 16411"/>
          <p:cNvGrpSpPr/>
          <p:nvPr/>
        </p:nvGrpSpPr>
        <p:grpSpPr>
          <a:xfrm>
            <a:off x="2492429" y="6058206"/>
            <a:ext cx="8353421" cy="3085796"/>
            <a:chOff x="2492379" y="6058205"/>
            <a:chExt cx="8353421" cy="3085795"/>
          </a:xfrm>
        </p:grpSpPr>
        <p:sp>
          <p:nvSpPr>
            <p:cNvPr id="14" name="Rectangle 13"/>
            <p:cNvSpPr/>
            <p:nvPr/>
          </p:nvSpPr>
          <p:spPr bwMode="auto">
            <a:xfrm>
              <a:off x="2492379" y="7234550"/>
              <a:ext cx="914400" cy="1752600"/>
            </a:xfrm>
            <a:prstGeom prst="rect">
              <a:avLst/>
            </a:prstGeom>
            <a:solidFill>
              <a:srgbClr val="33CCCC"/>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a:p>
          </p:txBody>
        </p:sp>
        <p:sp>
          <p:nvSpPr>
            <p:cNvPr id="23" name="Rectangle 22"/>
            <p:cNvSpPr/>
            <p:nvPr/>
          </p:nvSpPr>
          <p:spPr bwMode="auto">
            <a:xfrm>
              <a:off x="2492379" y="8110850"/>
              <a:ext cx="8353421" cy="1033150"/>
            </a:xfrm>
            <a:prstGeom prst="rect">
              <a:avLst/>
            </a:prstGeom>
            <a:solidFill>
              <a:srgbClr val="33CCCC"/>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2711"/>
              <a:endParaRPr lang="en-US"/>
            </a:p>
          </p:txBody>
        </p:sp>
        <p:sp>
          <p:nvSpPr>
            <p:cNvPr id="7" name="TextBox 6"/>
            <p:cNvSpPr txBox="1"/>
            <p:nvPr/>
          </p:nvSpPr>
          <p:spPr>
            <a:xfrm>
              <a:off x="3606800" y="8207514"/>
              <a:ext cx="7239000" cy="707886"/>
            </a:xfrm>
            <a:prstGeom prst="rect">
              <a:avLst/>
            </a:prstGeom>
            <a:noFill/>
          </p:spPr>
          <p:txBody>
            <a:bodyPr wrap="square" rtlCol="0">
              <a:spAutoFit/>
            </a:bodyPr>
            <a:lstStyle/>
            <a:p>
              <a:r>
                <a:rPr lang="en-US" sz="4000" b="1" dirty="0">
                  <a:solidFill>
                    <a:schemeClr val="bg1"/>
                  </a:solidFill>
                  <a:latin typeface="Leelawadee" panose="020B0502040204020203" pitchFamily="34" charset="-34"/>
                  <a:cs typeface="Leelawadee" panose="020B0502040204020203" pitchFamily="34" charset="-34"/>
                </a:rPr>
                <a:t>    It was really good</a:t>
              </a:r>
            </a:p>
          </p:txBody>
        </p:sp>
        <p:cxnSp>
          <p:nvCxnSpPr>
            <p:cNvPr id="25" name="Straight Connector 24"/>
            <p:cNvCxnSpPr/>
            <p:nvPr/>
          </p:nvCxnSpPr>
          <p:spPr bwMode="auto">
            <a:xfrm>
              <a:off x="2949579" y="6058205"/>
              <a:ext cx="0" cy="2503252"/>
            </a:xfrm>
            <a:prstGeom prst="line">
              <a:avLst/>
            </a:prstGeom>
            <a:solidFill>
              <a:schemeClr val="accent1"/>
            </a:solidFill>
            <a:ln w="23495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 name="Straight Connector 30"/>
            <p:cNvCxnSpPr/>
            <p:nvPr/>
          </p:nvCxnSpPr>
          <p:spPr bwMode="auto">
            <a:xfrm flipH="1">
              <a:off x="3149600" y="8561457"/>
              <a:ext cx="1371600" cy="0"/>
            </a:xfrm>
            <a:prstGeom prst="line">
              <a:avLst/>
            </a:prstGeom>
            <a:solidFill>
              <a:schemeClr val="accent1"/>
            </a:solidFill>
            <a:ln w="2286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411" name="Group 16410"/>
          <p:cNvGrpSpPr/>
          <p:nvPr/>
        </p:nvGrpSpPr>
        <p:grpSpPr>
          <a:xfrm>
            <a:off x="2387600" y="2724374"/>
            <a:ext cx="5041588" cy="1485510"/>
            <a:chOff x="2692401" y="2724374"/>
            <a:chExt cx="4736788" cy="1485510"/>
          </a:xfrm>
        </p:grpSpPr>
        <p:cxnSp>
          <p:nvCxnSpPr>
            <p:cNvPr id="43" name="Straight Connector 42"/>
            <p:cNvCxnSpPr/>
            <p:nvPr/>
          </p:nvCxnSpPr>
          <p:spPr bwMode="auto">
            <a:xfrm flipH="1">
              <a:off x="2692401" y="2724374"/>
              <a:ext cx="4736788" cy="89956"/>
            </a:xfrm>
            <a:prstGeom prst="line">
              <a:avLst/>
            </a:prstGeom>
            <a:solidFill>
              <a:schemeClr val="accent1"/>
            </a:solidFill>
            <a:ln w="314325" cap="flat" cmpd="sng" algn="ctr">
              <a:solidFill>
                <a:srgbClr val="33CCCC"/>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8" name="Straight Connector 57"/>
            <p:cNvCxnSpPr/>
            <p:nvPr/>
          </p:nvCxnSpPr>
          <p:spPr bwMode="auto">
            <a:xfrm flipV="1">
              <a:off x="3021173" y="3200400"/>
              <a:ext cx="29193" cy="1009484"/>
            </a:xfrm>
            <a:prstGeom prst="line">
              <a:avLst/>
            </a:prstGeom>
            <a:solidFill>
              <a:schemeClr val="accent1"/>
            </a:solidFill>
            <a:ln w="314325" cap="flat" cmpd="sng" algn="ctr">
              <a:solidFill>
                <a:srgbClr val="33CCCC"/>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0" name="Slide Number Placeholder 19"/>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47</a:t>
            </a:fld>
            <a:endParaRPr lang="en-US" dirty="0">
              <a:solidFill>
                <a:prstClr val="black"/>
              </a:solidFill>
            </a:endParaRPr>
          </a:p>
        </p:txBody>
      </p:sp>
      <p:sp>
        <p:nvSpPr>
          <p:cNvPr id="21" name="Title 9"/>
          <p:cNvSpPr txBox="1">
            <a:spLocks/>
          </p:cNvSpPr>
          <p:nvPr/>
        </p:nvSpPr>
        <p:spPr>
          <a:xfrm>
            <a:off x="-203200" y="-76200"/>
            <a:ext cx="12750800" cy="1625600"/>
          </a:xfrm>
          <a:prstGeom prst="rect">
            <a:avLst/>
          </a:prstGeom>
        </p:spPr>
        <p:txBody>
          <a:bodyPr>
            <a:norm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t>General Questions Lead to General Answers</a:t>
            </a:r>
            <a:endParaRPr kumimoji="0" lang="en-US" sz="9600" b="0"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endParaRPr>
          </a:p>
        </p:txBody>
      </p:sp>
      <p:grpSp>
        <p:nvGrpSpPr>
          <p:cNvPr id="22" name="Group 21"/>
          <p:cNvGrpSpPr/>
          <p:nvPr/>
        </p:nvGrpSpPr>
        <p:grpSpPr>
          <a:xfrm>
            <a:off x="7721600" y="1447800"/>
            <a:ext cx="3543300" cy="2514600"/>
            <a:chOff x="8407400" y="3505200"/>
            <a:chExt cx="3543300" cy="2514600"/>
          </a:xfrm>
        </p:grpSpPr>
        <p:sp>
          <p:nvSpPr>
            <p:cNvPr id="24" name="Rounded Rectangle 23"/>
            <p:cNvSpPr/>
            <p:nvPr/>
          </p:nvSpPr>
          <p:spPr bwMode="auto">
            <a:xfrm>
              <a:off x="8407400" y="3505200"/>
              <a:ext cx="3124200" cy="2514600"/>
            </a:xfrm>
            <a:prstGeom prst="roundRect">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What did you think of my presentation?</a:t>
              </a:r>
            </a:p>
          </p:txBody>
        </p:sp>
        <p:sp>
          <p:nvSpPr>
            <p:cNvPr id="26" name="Isosceles Triangle 25"/>
            <p:cNvSpPr/>
            <p:nvPr/>
          </p:nvSpPr>
          <p:spPr bwMode="auto">
            <a:xfrm rot="5400000">
              <a:off x="11245850" y="4629150"/>
              <a:ext cx="838200" cy="571500"/>
            </a:xfrm>
            <a:prstGeom prst="triangle">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Tree>
    <p:custDataLst>
      <p:tags r:id="rId1"/>
    </p:custDataLst>
    <p:extLst>
      <p:ext uri="{BB962C8B-B14F-4D97-AF65-F5344CB8AC3E}">
        <p14:creationId xmlns:p14="http://schemas.microsoft.com/office/powerpoint/2010/main" val="1766067428"/>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16411"/>
                                        </p:tgtEl>
                                        <p:attrNameLst>
                                          <p:attrName>style.visibility</p:attrName>
                                        </p:attrNameLst>
                                      </p:cBhvr>
                                      <p:to>
                                        <p:strVal val="visible"/>
                                      </p:to>
                                    </p:set>
                                    <p:animEffect transition="in" filter="wipe(right)">
                                      <p:cBhvr>
                                        <p:cTn id="7" dur="1000"/>
                                        <p:tgtEl>
                                          <p:spTgt spid="16411"/>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16412"/>
                                        </p:tgtEl>
                                        <p:attrNameLst>
                                          <p:attrName>style.visibility</p:attrName>
                                        </p:attrNameLst>
                                      </p:cBhvr>
                                      <p:to>
                                        <p:strVal val="visible"/>
                                      </p:to>
                                    </p:set>
                                    <p:animEffect transition="in" filter="wipe(left)">
                                      <p:cBhvr>
                                        <p:cTn id="11" dur="500"/>
                                        <p:tgtEl>
                                          <p:spTgt spid="164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p:sp>
      <p:pic>
        <p:nvPicPr>
          <p:cNvPr id="5" name="Picture 2" descr="Cog wheels moving in the head for a brain thinking"/>
          <p:cNvPicPr>
            <a:picLocks noChangeAspect="1" noChangeArrowheads="1" noCrop="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181" y="-68508"/>
            <a:ext cx="8157001" cy="988114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4"/>
          <p:cNvSpPr>
            <a:spLocks noChangeArrowheads="1"/>
          </p:cNvSpPr>
          <p:nvPr/>
        </p:nvSpPr>
        <p:spPr bwMode="auto">
          <a:xfrm>
            <a:off x="8134777" y="4651726"/>
            <a:ext cx="4870026" cy="450271"/>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734" tIns="58366" rIns="116734" bIns="5836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defTabSz="912711" fontAlgn="auto">
              <a:spcBef>
                <a:spcPts val="0"/>
              </a:spcBef>
              <a:spcAft>
                <a:spcPts val="0"/>
              </a:spcAft>
            </a:pPr>
            <a:endParaRPr lang="en-US" altLang="en-US" kern="0">
              <a:solidFill>
                <a:srgbClr val="FFFFFF"/>
              </a:solidFill>
              <a:cs typeface="Arial" pitchFamily="34" charset="0"/>
            </a:endParaRPr>
          </a:p>
        </p:txBody>
      </p:sp>
      <p:sp>
        <p:nvSpPr>
          <p:cNvPr id="8" name="Text Box 8"/>
          <p:cNvSpPr txBox="1">
            <a:spLocks noChangeArrowheads="1"/>
          </p:cNvSpPr>
          <p:nvPr/>
        </p:nvSpPr>
        <p:spPr bwMode="auto">
          <a:xfrm>
            <a:off x="8039509" y="-204076"/>
            <a:ext cx="4965291" cy="10352982"/>
          </a:xfrm>
          <a:prstGeom prst="rect">
            <a:avLst/>
          </a:prstGeom>
          <a:solidFill>
            <a:srgbClr val="FFFFFF"/>
          </a:solidFill>
          <a:ln>
            <a:noFill/>
          </a:ln>
          <a:effectLst/>
        </p:spPr>
        <p:txBody>
          <a:bodyPr wrap="square" lIns="116734" tIns="58366" rIns="116734" bIns="5836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a:p>
            <a:pPr algn="l"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a:p>
            <a:pPr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a:p>
            <a:pPr defTabSz="812893" fontAlgn="auto">
              <a:lnSpc>
                <a:spcPct val="90000"/>
              </a:lnSpc>
              <a:spcBef>
                <a:spcPct val="0"/>
              </a:spcBef>
              <a:spcAft>
                <a:spcPts val="0"/>
              </a:spcAft>
              <a:buClrTx/>
              <a:buSzTx/>
              <a:buNone/>
            </a:pPr>
            <a:r>
              <a:rPr lang="en-US" altLang="en-US" sz="7700" b="1" kern="0" dirty="0">
                <a:solidFill>
                  <a:srgbClr val="33CCCC"/>
                </a:solidFill>
                <a:latin typeface="Leelawadee" pitchFamily="34" charset="-34"/>
                <a:cs typeface="Leelawadee" pitchFamily="34" charset="-34"/>
              </a:rPr>
              <a:t> </a:t>
            </a:r>
            <a:br>
              <a:rPr lang="en-US" altLang="en-US" sz="7700" b="1" kern="0" dirty="0">
                <a:solidFill>
                  <a:srgbClr val="33CCCC"/>
                </a:solidFill>
                <a:latin typeface="Leelawadee" pitchFamily="34" charset="-34"/>
                <a:cs typeface="Leelawadee" pitchFamily="34" charset="-34"/>
              </a:rPr>
            </a:br>
            <a:r>
              <a:rPr lang="en-US" altLang="en-US" sz="4000" b="1" kern="0" dirty="0">
                <a:latin typeface="Leelawadee" pitchFamily="34" charset="-34"/>
                <a:cs typeface="Leelawadee" pitchFamily="34" charset="-34"/>
              </a:rPr>
              <a:t>Asking </a:t>
            </a:r>
            <a:br>
              <a:rPr lang="en-US" altLang="en-US" sz="4000" b="1" kern="0" dirty="0">
                <a:latin typeface="Leelawadee" pitchFamily="34" charset="-34"/>
                <a:cs typeface="Leelawadee" pitchFamily="34" charset="-34"/>
              </a:rPr>
            </a:br>
            <a:r>
              <a:rPr lang="en-US" altLang="en-US" sz="4000" b="1" kern="0" dirty="0">
                <a:latin typeface="Leelawadee" pitchFamily="34" charset="-34"/>
                <a:cs typeface="Leelawadee" pitchFamily="34" charset="-34"/>
              </a:rPr>
              <a:t>One-Thing Questions Usually Lead to Specific Information </a:t>
            </a:r>
            <a:endParaRPr lang="en-US" altLang="en-US" sz="4000" kern="0" dirty="0">
              <a:latin typeface="Helvetica 65 Medium" pitchFamily="34" charset="0"/>
              <a:cs typeface="Tahoma" pitchFamily="34" charset="0"/>
            </a:endParaRPr>
          </a:p>
          <a:p>
            <a:pPr algn="l"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a:p>
            <a:pPr algn="l"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a:p>
            <a:pPr algn="l" defTabSz="812893" fontAlgn="auto">
              <a:lnSpc>
                <a:spcPct val="90000"/>
              </a:lnSpc>
              <a:spcBef>
                <a:spcPct val="0"/>
              </a:spcBef>
              <a:spcAft>
                <a:spcPts val="0"/>
              </a:spcAft>
              <a:buClrTx/>
              <a:buSzTx/>
              <a:buNone/>
            </a:pPr>
            <a:endParaRPr lang="en-US" altLang="en-US" sz="7700" kern="0" dirty="0">
              <a:solidFill>
                <a:srgbClr val="000000"/>
              </a:solidFill>
              <a:latin typeface="Helvetica 65 Medium" pitchFamily="34" charset="0"/>
              <a:cs typeface="Tahoma" pitchFamily="34" charset="0"/>
            </a:endParaRPr>
          </a:p>
        </p:txBody>
      </p:sp>
      <p:pic>
        <p:nvPicPr>
          <p:cNvPr id="664577" name="Picture 1"/>
          <p:cNvPicPr>
            <a:picLocks noChangeAspect="1" noChangeArrowheads="1"/>
          </p:cNvPicPr>
          <p:nvPr/>
        </p:nvPicPr>
        <p:blipFill>
          <a:blip r:embed="rId5"/>
          <a:srcRect/>
          <a:stretch>
            <a:fillRect/>
          </a:stretch>
        </p:blipFill>
        <p:spPr bwMode="auto">
          <a:xfrm>
            <a:off x="-115101" y="-162592"/>
            <a:ext cx="8217701" cy="9916192"/>
          </a:xfrm>
          <a:prstGeom prst="rect">
            <a:avLst/>
          </a:prstGeom>
          <a:noFill/>
          <a:ln w="9525">
            <a:noFill/>
            <a:miter lim="800000"/>
            <a:headEnd/>
            <a:tailEnd/>
          </a:ln>
        </p:spPr>
      </p:pic>
      <p:sp>
        <p:nvSpPr>
          <p:cNvPr id="35" name="Rectangle 34"/>
          <p:cNvSpPr/>
          <p:nvPr/>
        </p:nvSpPr>
        <p:spPr>
          <a:xfrm>
            <a:off x="7112000" y="685800"/>
            <a:ext cx="6502400" cy="1569660"/>
          </a:xfrm>
          <a:prstGeom prst="rect">
            <a:avLst/>
          </a:prstGeom>
        </p:spPr>
        <p:txBody>
          <a:bodyPr>
            <a:spAutoFit/>
          </a:bodyPr>
          <a:lstStyle/>
          <a:p>
            <a:r>
              <a:rPr lang="en-US" sz="3200" b="1" dirty="0">
                <a:solidFill>
                  <a:schemeClr val="bg1"/>
                </a:solidFill>
                <a:latin typeface="Leelawadee" pitchFamily="34" charset="-34"/>
                <a:cs typeface="Leelawadee" pitchFamily="34" charset="-34"/>
              </a:rPr>
              <a:t>What’s one tip</a:t>
            </a:r>
          </a:p>
          <a:p>
            <a:r>
              <a:rPr lang="en-US" sz="3200" b="1" dirty="0">
                <a:solidFill>
                  <a:schemeClr val="bg1"/>
                </a:solidFill>
                <a:latin typeface="Leelawadee" pitchFamily="34" charset="-34"/>
                <a:cs typeface="Leelawadee" pitchFamily="34" charset="-34"/>
              </a:rPr>
              <a:t>you picked up </a:t>
            </a:r>
          </a:p>
          <a:p>
            <a:r>
              <a:rPr lang="en-US" sz="3200" b="1" dirty="0">
                <a:solidFill>
                  <a:schemeClr val="bg1"/>
                </a:solidFill>
                <a:latin typeface="Leelawadee" pitchFamily="34" charset="-34"/>
                <a:cs typeface="Leelawadee" pitchFamily="34" charset="-34"/>
              </a:rPr>
              <a:t>from the presentation?</a:t>
            </a:r>
          </a:p>
        </p:txBody>
      </p:sp>
      <p:grpSp>
        <p:nvGrpSpPr>
          <p:cNvPr id="49" name="Group 48"/>
          <p:cNvGrpSpPr/>
          <p:nvPr/>
        </p:nvGrpSpPr>
        <p:grpSpPr>
          <a:xfrm>
            <a:off x="2692400" y="2724374"/>
            <a:ext cx="4736788" cy="3265766"/>
            <a:chOff x="2692401" y="2724374"/>
            <a:chExt cx="4736788" cy="3265766"/>
          </a:xfrm>
        </p:grpSpPr>
        <p:cxnSp>
          <p:nvCxnSpPr>
            <p:cNvPr id="50" name="Straight Connector 49"/>
            <p:cNvCxnSpPr/>
            <p:nvPr/>
          </p:nvCxnSpPr>
          <p:spPr bwMode="auto">
            <a:xfrm flipH="1">
              <a:off x="2692401" y="2724374"/>
              <a:ext cx="4736788" cy="89956"/>
            </a:xfrm>
            <a:prstGeom prst="line">
              <a:avLst/>
            </a:prstGeom>
            <a:solidFill>
              <a:schemeClr val="accent1"/>
            </a:solidFill>
            <a:ln w="314325" cap="flat" cmpd="sng" algn="ctr">
              <a:solidFill>
                <a:srgbClr val="33CCCC"/>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1" name="Straight Connector 50"/>
            <p:cNvCxnSpPr/>
            <p:nvPr/>
          </p:nvCxnSpPr>
          <p:spPr bwMode="auto">
            <a:xfrm flipH="1" flipV="1">
              <a:off x="2921001" y="2819400"/>
              <a:ext cx="47622" cy="3170740"/>
            </a:xfrm>
            <a:prstGeom prst="line">
              <a:avLst/>
            </a:prstGeom>
            <a:solidFill>
              <a:schemeClr val="accent1"/>
            </a:solidFill>
            <a:ln w="314325" cap="flat" cmpd="sng" algn="ctr">
              <a:solidFill>
                <a:srgbClr val="33CCCC"/>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3" name="Slide Number Placeholder 22"/>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48</a:t>
            </a:fld>
            <a:endParaRPr lang="en-US" dirty="0">
              <a:solidFill>
                <a:prstClr val="black"/>
              </a:solidFill>
            </a:endParaRPr>
          </a:p>
        </p:txBody>
      </p:sp>
      <p:grpSp>
        <p:nvGrpSpPr>
          <p:cNvPr id="26" name="Group 25"/>
          <p:cNvGrpSpPr/>
          <p:nvPr/>
        </p:nvGrpSpPr>
        <p:grpSpPr>
          <a:xfrm>
            <a:off x="8178800" y="838200"/>
            <a:ext cx="3543300" cy="2514600"/>
            <a:chOff x="8407400" y="3505200"/>
            <a:chExt cx="3543300" cy="2514600"/>
          </a:xfrm>
        </p:grpSpPr>
        <p:sp>
          <p:nvSpPr>
            <p:cNvPr id="27" name="Rounded Rectangle 26"/>
            <p:cNvSpPr/>
            <p:nvPr/>
          </p:nvSpPr>
          <p:spPr bwMode="auto">
            <a:xfrm>
              <a:off x="8407400" y="3505200"/>
              <a:ext cx="3124200" cy="2514600"/>
            </a:xfrm>
            <a:prstGeom prst="roundRect">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What’s one tip you picked up during the workshop?</a:t>
              </a:r>
            </a:p>
          </p:txBody>
        </p:sp>
        <p:sp>
          <p:nvSpPr>
            <p:cNvPr id="28" name="Isosceles Triangle 27"/>
            <p:cNvSpPr/>
            <p:nvPr/>
          </p:nvSpPr>
          <p:spPr bwMode="auto">
            <a:xfrm rot="5400000">
              <a:off x="11245850" y="4629150"/>
              <a:ext cx="838200" cy="571500"/>
            </a:xfrm>
            <a:prstGeom prst="triangle">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30" name="Group 29"/>
          <p:cNvGrpSpPr/>
          <p:nvPr/>
        </p:nvGrpSpPr>
        <p:grpSpPr>
          <a:xfrm>
            <a:off x="2463800" y="6172200"/>
            <a:ext cx="11996358" cy="3810001"/>
            <a:chOff x="2463800" y="6172200"/>
            <a:chExt cx="11996358" cy="3810001"/>
          </a:xfrm>
        </p:grpSpPr>
        <p:sp>
          <p:nvSpPr>
            <p:cNvPr id="42" name="Isosceles Triangle 41"/>
            <p:cNvSpPr/>
            <p:nvPr/>
          </p:nvSpPr>
          <p:spPr bwMode="auto">
            <a:xfrm rot="5400000">
              <a:off x="9965362" y="7052639"/>
              <a:ext cx="2971801" cy="2887324"/>
            </a:xfrm>
            <a:prstGeom prst="triangle">
              <a:avLst/>
            </a:prstGeom>
            <a:solidFill>
              <a:srgbClr val="33CCCC"/>
            </a:solidFill>
            <a:ln w="25400" cap="flat" cmpd="sng" algn="ctr">
              <a:noFill/>
              <a:prstDash val="solid"/>
              <a:round/>
              <a:headEnd type="none" w="med" len="med"/>
              <a:tailEnd type="none" w="med" len="med"/>
            </a:ln>
            <a:effectLst/>
            <a:extLst/>
          </p:spPr>
          <p:txBody>
            <a:bodyPr vert="horz" wrap="square" lIns="91273" tIns="45631" rIns="91273" bIns="45631" numCol="1" spcCol="0" rtlCol="0" anchor="t" anchorCtr="0" compatLnSpc="1">
              <a:prstTxWarp prst="textNoShape">
                <a:avLst/>
              </a:prstTxWarp>
            </a:bodyPr>
            <a:lstStyle/>
            <a:p>
              <a:pPr defTabSz="912711"/>
              <a:endParaRPr lang="en-US"/>
            </a:p>
          </p:txBody>
        </p:sp>
        <p:grpSp>
          <p:nvGrpSpPr>
            <p:cNvPr id="43" name="Group 42"/>
            <p:cNvGrpSpPr/>
            <p:nvPr/>
          </p:nvGrpSpPr>
          <p:grpSpPr>
            <a:xfrm>
              <a:off x="2463800" y="6172200"/>
              <a:ext cx="11996358" cy="3085796"/>
              <a:chOff x="2492379" y="6058205"/>
              <a:chExt cx="11996358" cy="3085795"/>
            </a:xfrm>
          </p:grpSpPr>
          <p:sp>
            <p:nvSpPr>
              <p:cNvPr id="44" name="Rectangle 43"/>
              <p:cNvSpPr/>
              <p:nvPr/>
            </p:nvSpPr>
            <p:spPr bwMode="auto">
              <a:xfrm>
                <a:off x="2492379" y="7234550"/>
                <a:ext cx="914400" cy="1752600"/>
              </a:xfrm>
              <a:prstGeom prst="rect">
                <a:avLst/>
              </a:prstGeom>
              <a:solidFill>
                <a:srgbClr val="33CCCC"/>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a:p>
            </p:txBody>
          </p:sp>
          <p:sp>
            <p:nvSpPr>
              <p:cNvPr id="45" name="Rectangle 44"/>
              <p:cNvSpPr/>
              <p:nvPr/>
            </p:nvSpPr>
            <p:spPr bwMode="auto">
              <a:xfrm>
                <a:off x="2492379" y="8110850"/>
                <a:ext cx="8353421" cy="1033150"/>
              </a:xfrm>
              <a:prstGeom prst="rect">
                <a:avLst/>
              </a:prstGeom>
              <a:solidFill>
                <a:srgbClr val="33CCCC"/>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2711"/>
                <a:endParaRPr lang="en-US"/>
              </a:p>
            </p:txBody>
          </p:sp>
          <p:sp>
            <p:nvSpPr>
              <p:cNvPr id="46" name="TextBox 45"/>
              <p:cNvSpPr txBox="1"/>
              <p:nvPr/>
            </p:nvSpPr>
            <p:spPr>
              <a:xfrm>
                <a:off x="4530981" y="8202273"/>
                <a:ext cx="9957756" cy="707886"/>
              </a:xfrm>
              <a:prstGeom prst="rect">
                <a:avLst/>
              </a:prstGeom>
              <a:noFill/>
            </p:spPr>
            <p:txBody>
              <a:bodyPr wrap="square" rtlCol="0">
                <a:spAutoFit/>
              </a:bodyPr>
              <a:lstStyle/>
              <a:p>
                <a:pPr algn="l"/>
                <a:endParaRPr lang="en-US" sz="4000" b="1" dirty="0">
                  <a:solidFill>
                    <a:schemeClr val="bg1"/>
                  </a:solidFill>
                  <a:latin typeface="Leelawadee" panose="020B0502040204020203" pitchFamily="34" charset="-34"/>
                  <a:cs typeface="Leelawadee" panose="020B0502040204020203" pitchFamily="34" charset="-34"/>
                </a:endParaRPr>
              </a:p>
            </p:txBody>
          </p:sp>
          <p:cxnSp>
            <p:nvCxnSpPr>
              <p:cNvPr id="47" name="Straight Connector 46"/>
              <p:cNvCxnSpPr/>
              <p:nvPr/>
            </p:nvCxnSpPr>
            <p:spPr bwMode="auto">
              <a:xfrm>
                <a:off x="2949579" y="6058205"/>
                <a:ext cx="0" cy="2666999"/>
              </a:xfrm>
              <a:prstGeom prst="line">
                <a:avLst/>
              </a:prstGeom>
              <a:solidFill>
                <a:schemeClr val="accent1"/>
              </a:solidFill>
              <a:ln w="23495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8" name="Straight Connector 47"/>
              <p:cNvCxnSpPr/>
              <p:nvPr/>
            </p:nvCxnSpPr>
            <p:spPr bwMode="auto">
              <a:xfrm flipH="1">
                <a:off x="3149600" y="8561457"/>
                <a:ext cx="1371600" cy="0"/>
              </a:xfrm>
              <a:prstGeom prst="line">
                <a:avLst/>
              </a:prstGeom>
              <a:solidFill>
                <a:schemeClr val="accent1"/>
              </a:solidFill>
              <a:ln w="228600" cap="flat" cmpd="sng" algn="ctr">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9" name="TextBox 28"/>
            <p:cNvSpPr txBox="1"/>
            <p:nvPr/>
          </p:nvSpPr>
          <p:spPr>
            <a:xfrm>
              <a:off x="3987800" y="8305800"/>
              <a:ext cx="8229550" cy="707886"/>
            </a:xfrm>
            <a:prstGeom prst="rect">
              <a:avLst/>
            </a:prstGeom>
            <a:noFill/>
          </p:spPr>
          <p:txBody>
            <a:bodyPr wrap="square" rtlCol="0">
              <a:spAutoFit/>
            </a:bodyPr>
            <a:lstStyle/>
            <a:p>
              <a:r>
                <a:rPr lang="en-US" sz="4000" b="1" dirty="0">
                  <a:solidFill>
                    <a:schemeClr val="bg1"/>
                  </a:solidFill>
                  <a:latin typeface="+mn-lt"/>
                  <a:cs typeface="Leelawadee" panose="020B0502040204020203" pitchFamily="34" charset="-34"/>
                </a:rPr>
                <a:t>How to …..</a:t>
              </a:r>
            </a:p>
          </p:txBody>
        </p:sp>
      </p:grpSp>
    </p:spTree>
    <p:custDataLst>
      <p:tags r:id="rId1"/>
    </p:custDataLst>
    <p:extLst>
      <p:ext uri="{BB962C8B-B14F-4D97-AF65-F5344CB8AC3E}">
        <p14:creationId xmlns:p14="http://schemas.microsoft.com/office/powerpoint/2010/main" val="190452995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right)">
                                      <p:cBhvr>
                                        <p:cTn id="7" dur="1000"/>
                                        <p:tgtEl>
                                          <p:spTgt spid="49"/>
                                        </p:tgtEl>
                                      </p:cBhvr>
                                    </p:animEffect>
                                  </p:childTnLst>
                                </p:cTn>
                              </p:par>
                            </p:childTnLst>
                          </p:cTn>
                        </p:par>
                        <p:par>
                          <p:cTn id="8" fill="hold">
                            <p:stCondLst>
                              <p:cond delay="1000"/>
                            </p:stCondLst>
                            <p:childTnLst>
                              <p:par>
                                <p:cTn id="9" presetID="10" presetClass="exit" presetSubtype="0" fill="hold" nodeType="afterEffect">
                                  <p:stCondLst>
                                    <p:cond delay="0"/>
                                  </p:stCondLst>
                                  <p:childTnLst>
                                    <p:animEffect transition="out" filter="fade">
                                      <p:cBhvr>
                                        <p:cTn id="10" dur="1000"/>
                                        <p:tgtEl>
                                          <p:spTgt spid="664577"/>
                                        </p:tgtEl>
                                      </p:cBhvr>
                                    </p:animEffect>
                                    <p:set>
                                      <p:cBhvr>
                                        <p:cTn id="11" dur="1" fill="hold">
                                          <p:stCondLst>
                                            <p:cond delay="999"/>
                                          </p:stCondLst>
                                        </p:cTn>
                                        <p:tgtEl>
                                          <p:spTgt spid="664577"/>
                                        </p:tgtEl>
                                        <p:attrNameLst>
                                          <p:attrName>style.visibility</p:attrName>
                                        </p:attrNameLst>
                                      </p:cBhvr>
                                      <p:to>
                                        <p:strVal val="hidden"/>
                                      </p:to>
                                    </p:se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endParaRPr lang="en-US"/>
          </a:p>
        </p:txBody>
      </p:sp>
      <p:grpSp>
        <p:nvGrpSpPr>
          <p:cNvPr id="3" name="Group 5"/>
          <p:cNvGrpSpPr/>
          <p:nvPr/>
        </p:nvGrpSpPr>
        <p:grpSpPr>
          <a:xfrm>
            <a:off x="182204" y="5042453"/>
            <a:ext cx="3526196" cy="2743200"/>
            <a:chOff x="4404" y="-685800"/>
            <a:chExt cx="3526196" cy="2743200"/>
          </a:xfrm>
          <a:solidFill>
            <a:srgbClr val="008080"/>
          </a:solidFill>
        </p:grpSpPr>
        <p:sp>
          <p:nvSpPr>
            <p:cNvPr id="4" name="Rounded Rectangle 3"/>
            <p:cNvSpPr/>
            <p:nvPr/>
          </p:nvSpPr>
          <p:spPr bwMode="auto">
            <a:xfrm>
              <a:off x="4404" y="-685800"/>
              <a:ext cx="3276600" cy="27432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What’s </a:t>
              </a:r>
              <a:r>
                <a:rPr lang="en-US" sz="3200" b="1" u="sng" dirty="0">
                  <a:solidFill>
                    <a:schemeClr val="bg1"/>
                  </a:solidFill>
                  <a:latin typeface="+mj-lt"/>
                  <a:cs typeface="Leelawadee" pitchFamily="34" charset="-34"/>
                </a:rPr>
                <a:t>one thing</a:t>
              </a:r>
              <a:r>
                <a:rPr lang="en-US" sz="3200" b="1" dirty="0">
                  <a:solidFill>
                    <a:schemeClr val="bg1"/>
                  </a:solidFill>
                  <a:latin typeface="+mj-lt"/>
                  <a:cs typeface="Leelawadee" pitchFamily="34" charset="-34"/>
                </a:rPr>
                <a:t> that worked well during the presentation?</a:t>
              </a:r>
            </a:p>
          </p:txBody>
        </p:sp>
        <p:sp>
          <p:nvSpPr>
            <p:cNvPr id="5" name="Isosceles Triangle 4"/>
            <p:cNvSpPr/>
            <p:nvPr/>
          </p:nvSpPr>
          <p:spPr bwMode="auto">
            <a:xfrm rot="5400000">
              <a:off x="3035300" y="190500"/>
              <a:ext cx="685800" cy="304800"/>
            </a:xfrm>
            <a:prstGeom prst="triangl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6" name="Group 6"/>
          <p:cNvGrpSpPr/>
          <p:nvPr/>
        </p:nvGrpSpPr>
        <p:grpSpPr>
          <a:xfrm>
            <a:off x="8228834" y="6358393"/>
            <a:ext cx="3276600" cy="3048000"/>
            <a:chOff x="0" y="-838200"/>
            <a:chExt cx="3276600" cy="3048000"/>
          </a:xfrm>
          <a:solidFill>
            <a:schemeClr val="tx1">
              <a:lumMod val="65000"/>
              <a:lumOff val="35000"/>
            </a:schemeClr>
          </a:solidFill>
        </p:grpSpPr>
        <p:sp>
          <p:nvSpPr>
            <p:cNvPr id="8" name="Rounded Rectangle 7"/>
            <p:cNvSpPr/>
            <p:nvPr/>
          </p:nvSpPr>
          <p:spPr bwMode="auto">
            <a:xfrm>
              <a:off x="0" y="-838200"/>
              <a:ext cx="3276600" cy="27432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n-lt"/>
                  <a:cs typeface="Leelawadee" pitchFamily="34" charset="-34"/>
                </a:rPr>
                <a:t>What’s </a:t>
              </a:r>
              <a:r>
                <a:rPr lang="en-US" sz="3200" b="1" u="sng" dirty="0">
                  <a:solidFill>
                    <a:schemeClr val="bg1"/>
                  </a:solidFill>
                  <a:latin typeface="+mn-lt"/>
                  <a:cs typeface="Leelawadee" pitchFamily="34" charset="-34"/>
                </a:rPr>
                <a:t>one thing</a:t>
              </a:r>
              <a:r>
                <a:rPr lang="en-US" sz="3200" b="1" dirty="0">
                  <a:solidFill>
                    <a:schemeClr val="bg1"/>
                  </a:solidFill>
                  <a:latin typeface="+mn-lt"/>
                  <a:cs typeface="Leelawadee" pitchFamily="34" charset="-34"/>
                </a:rPr>
                <a:t> we can do to make the most of our meeting time?</a:t>
              </a:r>
            </a:p>
          </p:txBody>
        </p:sp>
        <p:sp>
          <p:nvSpPr>
            <p:cNvPr id="9" name="Isosceles Triangle 8"/>
            <p:cNvSpPr/>
            <p:nvPr/>
          </p:nvSpPr>
          <p:spPr bwMode="auto">
            <a:xfrm rot="10800000">
              <a:off x="1752600" y="1905000"/>
              <a:ext cx="685800" cy="304800"/>
            </a:xfrm>
            <a:prstGeom prst="triangl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10" name="Group 15"/>
          <p:cNvGrpSpPr/>
          <p:nvPr/>
        </p:nvGrpSpPr>
        <p:grpSpPr>
          <a:xfrm>
            <a:off x="4495034" y="5486400"/>
            <a:ext cx="3429000" cy="3581400"/>
            <a:chOff x="8102600" y="2438400"/>
            <a:chExt cx="3429000" cy="3581400"/>
          </a:xfrm>
          <a:solidFill>
            <a:srgbClr val="0066CC"/>
          </a:solidFill>
        </p:grpSpPr>
        <p:sp>
          <p:nvSpPr>
            <p:cNvPr id="14" name="Rounded Rectangle 13"/>
            <p:cNvSpPr/>
            <p:nvPr/>
          </p:nvSpPr>
          <p:spPr bwMode="auto">
            <a:xfrm>
              <a:off x="8407400" y="2438400"/>
              <a:ext cx="3124200" cy="35814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What’s </a:t>
              </a:r>
              <a:r>
                <a:rPr lang="en-US" sz="3200" b="1" u="sng" dirty="0">
                  <a:solidFill>
                    <a:schemeClr val="bg1"/>
                  </a:solidFill>
                  <a:latin typeface="+mj-lt"/>
                  <a:cs typeface="Leelawadee" pitchFamily="34" charset="-34"/>
                </a:rPr>
                <a:t>one thing</a:t>
              </a:r>
              <a:r>
                <a:rPr lang="en-US" sz="3200" b="1" dirty="0">
                  <a:solidFill>
                    <a:schemeClr val="bg1"/>
                  </a:solidFill>
                  <a:latin typeface="+mj-lt"/>
                  <a:cs typeface="Leelawadee" pitchFamily="34" charset="-34"/>
                </a:rPr>
                <a:t> I can do to make the next presentation  even better?</a:t>
              </a:r>
            </a:p>
          </p:txBody>
        </p:sp>
        <p:sp>
          <p:nvSpPr>
            <p:cNvPr id="15" name="Isosceles Triangle 14"/>
            <p:cNvSpPr/>
            <p:nvPr/>
          </p:nvSpPr>
          <p:spPr bwMode="auto">
            <a:xfrm rot="16200000">
              <a:off x="7969250" y="2952750"/>
              <a:ext cx="838200" cy="571500"/>
            </a:xfrm>
            <a:prstGeom prst="triangl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13" name="Group 17"/>
          <p:cNvGrpSpPr/>
          <p:nvPr/>
        </p:nvGrpSpPr>
        <p:grpSpPr>
          <a:xfrm>
            <a:off x="273050" y="1566407"/>
            <a:ext cx="3835400" cy="3048000"/>
            <a:chOff x="-304800" y="-1143000"/>
            <a:chExt cx="3835400" cy="3048000"/>
          </a:xfrm>
          <a:solidFill>
            <a:srgbClr val="92D050"/>
          </a:solidFill>
        </p:grpSpPr>
        <p:sp>
          <p:nvSpPr>
            <p:cNvPr id="19" name="Rounded Rectangle 18"/>
            <p:cNvSpPr/>
            <p:nvPr/>
          </p:nvSpPr>
          <p:spPr bwMode="auto">
            <a:xfrm>
              <a:off x="-304800" y="-1143000"/>
              <a:ext cx="3581400" cy="30480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n-lt"/>
                  <a:cs typeface="Leelawadee" pitchFamily="34" charset="-34"/>
                </a:rPr>
                <a:t>What’s </a:t>
              </a:r>
              <a:r>
                <a:rPr lang="en-US" sz="3200" b="1" u="sng" dirty="0">
                  <a:solidFill>
                    <a:schemeClr val="bg1"/>
                  </a:solidFill>
                  <a:latin typeface="+mn-lt"/>
                  <a:cs typeface="Leelawadee" pitchFamily="34" charset="-34"/>
                </a:rPr>
                <a:t>one way </a:t>
              </a:r>
              <a:r>
                <a:rPr lang="en-US" sz="3200" b="1" dirty="0">
                  <a:solidFill>
                    <a:schemeClr val="bg1"/>
                  </a:solidFill>
                  <a:latin typeface="+mn-lt"/>
                  <a:cs typeface="Leelawadee" pitchFamily="34" charset="-34"/>
                </a:rPr>
                <a:t>I can improve my interpersonal skills?</a:t>
              </a:r>
            </a:p>
          </p:txBody>
        </p:sp>
        <p:sp>
          <p:nvSpPr>
            <p:cNvPr id="20" name="Isosceles Triangle 19"/>
            <p:cNvSpPr/>
            <p:nvPr/>
          </p:nvSpPr>
          <p:spPr bwMode="auto">
            <a:xfrm rot="5400000">
              <a:off x="3035300" y="190500"/>
              <a:ext cx="685800" cy="304800"/>
            </a:xfrm>
            <a:prstGeom prst="triangl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
        <p:nvSpPr>
          <p:cNvPr id="21" name="Title 9"/>
          <p:cNvSpPr txBox="1">
            <a:spLocks/>
          </p:cNvSpPr>
          <p:nvPr/>
        </p:nvSpPr>
        <p:spPr>
          <a:xfrm>
            <a:off x="-203200" y="508000"/>
            <a:ext cx="12750800" cy="1625600"/>
          </a:xfrm>
          <a:prstGeom prst="rect">
            <a:avLst/>
          </a:prstGeom>
        </p:spPr>
        <p:txBody>
          <a:bodyP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4800" b="1" kern="0" dirty="0">
                <a:solidFill>
                  <a:schemeClr val="tx1"/>
                </a:solidFill>
                <a:latin typeface="+mj-lt"/>
                <a:ea typeface="+mj-ea"/>
                <a:cs typeface="+mj-cs"/>
                <a:sym typeface="Bebas Neue" charset="0"/>
              </a:rPr>
              <a:t>Examples of Better Questions</a:t>
            </a:r>
            <a:br>
              <a:rPr lang="en-US" sz="4800" b="1" kern="0" dirty="0">
                <a:solidFill>
                  <a:schemeClr val="tx1"/>
                </a:solidFill>
                <a:latin typeface="+mj-lt"/>
                <a:ea typeface="+mj-ea"/>
                <a:cs typeface="+mj-cs"/>
                <a:sym typeface="Bebas Neue" charset="0"/>
              </a:rPr>
            </a:br>
            <a:endParaRPr kumimoji="0" lang="en-US" sz="11500" b="0" i="0" u="none" strike="noStrike" kern="0" cap="none" spc="0" normalizeH="0" baseline="0" noProof="0" dirty="0">
              <a:ln>
                <a:noFill/>
              </a:ln>
              <a:solidFill>
                <a:schemeClr val="tx1"/>
              </a:solidFill>
              <a:effectLst/>
              <a:uLnTx/>
              <a:uFillTx/>
              <a:latin typeface="+mj-lt"/>
              <a:ea typeface="+mj-ea"/>
              <a:cs typeface="+mj-cs"/>
              <a:sym typeface="Bebas Neue" charset="0"/>
            </a:endParaRPr>
          </a:p>
        </p:txBody>
      </p:sp>
      <p:sp>
        <p:nvSpPr>
          <p:cNvPr id="23" name="Rounded Rectangle 3">
            <a:extLst>
              <a:ext uri="{FF2B5EF4-FFF2-40B4-BE49-F238E27FC236}">
                <a16:creationId xmlns:a16="http://schemas.microsoft.com/office/drawing/2014/main" id="{D38243AC-7CAA-45B8-B4A9-11D942D8ED3B}"/>
              </a:ext>
            </a:extLst>
          </p:cNvPr>
          <p:cNvSpPr/>
          <p:nvPr/>
        </p:nvSpPr>
        <p:spPr bwMode="auto">
          <a:xfrm>
            <a:off x="5592659" y="1871207"/>
            <a:ext cx="3276600" cy="2743200"/>
          </a:xfrm>
          <a:prstGeom prst="roundRect">
            <a:avLst/>
          </a:prstGeom>
          <a:solidFill>
            <a:srgbClr val="00808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What is one thing I can prioritize?</a:t>
            </a:r>
          </a:p>
        </p:txBody>
      </p:sp>
      <p:grpSp>
        <p:nvGrpSpPr>
          <p:cNvPr id="25" name="Group 24">
            <a:extLst>
              <a:ext uri="{FF2B5EF4-FFF2-40B4-BE49-F238E27FC236}">
                <a16:creationId xmlns:a16="http://schemas.microsoft.com/office/drawing/2014/main" id="{83D43E80-1DFC-43DD-9212-1802CD13C8F6}"/>
              </a:ext>
            </a:extLst>
          </p:cNvPr>
          <p:cNvGrpSpPr/>
          <p:nvPr/>
        </p:nvGrpSpPr>
        <p:grpSpPr>
          <a:xfrm>
            <a:off x="9693993" y="1455697"/>
            <a:ext cx="2971800" cy="5225774"/>
            <a:chOff x="9398002" y="-4279348"/>
            <a:chExt cx="2971800" cy="5225774"/>
          </a:xfrm>
        </p:grpSpPr>
        <p:sp>
          <p:nvSpPr>
            <p:cNvPr id="26" name="Rounded Rectangle 10">
              <a:extLst>
                <a:ext uri="{FF2B5EF4-FFF2-40B4-BE49-F238E27FC236}">
                  <a16:creationId xmlns:a16="http://schemas.microsoft.com/office/drawing/2014/main" id="{9D4ED7F9-F490-48E7-9299-138F199F31EB}"/>
                </a:ext>
              </a:extLst>
            </p:cNvPr>
            <p:cNvSpPr/>
            <p:nvPr/>
          </p:nvSpPr>
          <p:spPr bwMode="auto">
            <a:xfrm>
              <a:off x="9398002" y="-4279348"/>
              <a:ext cx="2971800" cy="4686300"/>
            </a:xfrm>
            <a:prstGeom prst="round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r>
                <a:rPr lang="en-US" sz="3200" b="1" dirty="0">
                  <a:solidFill>
                    <a:schemeClr val="bg1"/>
                  </a:solidFill>
                  <a:latin typeface="+mj-lt"/>
                  <a:cs typeface="Leelawadee" pitchFamily="34" charset="-34"/>
                </a:rPr>
                <a:t>I‘m only here three days a week, what’s </a:t>
              </a:r>
              <a:r>
                <a:rPr lang="en-US" sz="3200" b="1" u="sng" dirty="0">
                  <a:solidFill>
                    <a:schemeClr val="bg1"/>
                  </a:solidFill>
                  <a:latin typeface="+mj-lt"/>
                  <a:cs typeface="Leelawadee" pitchFamily="34" charset="-34"/>
                </a:rPr>
                <a:t>one way </a:t>
              </a:r>
              <a:r>
                <a:rPr lang="en-US" sz="3200" b="1" dirty="0">
                  <a:solidFill>
                    <a:schemeClr val="bg1"/>
                  </a:solidFill>
                  <a:latin typeface="+mj-lt"/>
                  <a:cs typeface="Leelawadee" pitchFamily="34" charset="-34"/>
                </a:rPr>
                <a:t>I can make the most of this time?</a:t>
              </a:r>
            </a:p>
          </p:txBody>
        </p:sp>
        <p:sp>
          <p:nvSpPr>
            <p:cNvPr id="27" name="Isosceles Triangle 26">
              <a:extLst>
                <a:ext uri="{FF2B5EF4-FFF2-40B4-BE49-F238E27FC236}">
                  <a16:creationId xmlns:a16="http://schemas.microsoft.com/office/drawing/2014/main" id="{40657A09-EA00-4D10-8693-FF9A7040C978}"/>
                </a:ext>
              </a:extLst>
            </p:cNvPr>
            <p:cNvSpPr/>
            <p:nvPr/>
          </p:nvSpPr>
          <p:spPr bwMode="auto">
            <a:xfrm rot="10800000">
              <a:off x="10144431" y="374926"/>
              <a:ext cx="685800" cy="571500"/>
            </a:xfrm>
            <a:prstGeom prst="triangle">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Tree>
    <p:custDataLst>
      <p:tags r:id="rId1"/>
    </p:custDataLst>
    <p:extLst>
      <p:ext uri="{BB962C8B-B14F-4D97-AF65-F5344CB8AC3E}">
        <p14:creationId xmlns:p14="http://schemas.microsoft.com/office/powerpoint/2010/main" val="5915537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right)">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right)">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left)">
                                      <p:cBhvr>
                                        <p:cTn id="2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6" name="Text Box 2"/>
          <p:cNvSpPr txBox="1">
            <a:spLocks noChangeArrowheads="1"/>
          </p:cNvSpPr>
          <p:nvPr/>
        </p:nvSpPr>
        <p:spPr bwMode="auto">
          <a:xfrm>
            <a:off x="2616200" y="5562600"/>
            <a:ext cx="8458200" cy="22860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kumimoji="0" lang="en-US" sz="4800" b="1" i="0" u="none" strike="noStrike" cap="none" normalizeH="0" baseline="0" dirty="0">
                <a:ln>
                  <a:noFill/>
                </a:ln>
                <a:solidFill>
                  <a:srgbClr val="4D4D4F"/>
                </a:solidFill>
                <a:effectLst/>
                <a:latin typeface="+mn-lt"/>
                <a:cs typeface="Arial" pitchFamily="34" charset="0"/>
              </a:rPr>
              <a:t>Map Your Career Pattern</a:t>
            </a:r>
            <a:br>
              <a:rPr kumimoji="0" lang="en-US" sz="1050" b="1" i="0" u="none" strike="noStrike" cap="none" normalizeH="0" baseline="0" dirty="0">
                <a:ln>
                  <a:noFill/>
                </a:ln>
                <a:solidFill>
                  <a:srgbClr val="000000"/>
                </a:solidFill>
                <a:effectLst/>
                <a:latin typeface="+mn-lt"/>
                <a:cs typeface="Arial" pitchFamily="34" charset="0"/>
              </a:rPr>
            </a:br>
            <a:r>
              <a:rPr lang="en-US" sz="3200" dirty="0">
                <a:latin typeface="+mn-lt"/>
              </a:rPr>
              <a:t>Use a visual tool to retrace  your experience and professional growth over a period of time.  Use this to help guide future career growth.</a:t>
            </a:r>
            <a:endParaRPr lang="en-US" sz="2400" dirty="0">
              <a:latin typeface="+mn-lt"/>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 name="Line 3"/>
          <p:cNvSpPr>
            <a:spLocks noChangeShapeType="1"/>
          </p:cNvSpPr>
          <p:nvPr/>
        </p:nvSpPr>
        <p:spPr bwMode="auto">
          <a:xfrm flipV="1">
            <a:off x="558800" y="5486400"/>
            <a:ext cx="1158240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pic>
        <p:nvPicPr>
          <p:cNvPr id="9" name="Picture 5"/>
          <p:cNvPicPr>
            <a:picLocks noChangeAspect="1" noChangeArrowheads="1"/>
          </p:cNvPicPr>
          <p:nvPr/>
        </p:nvPicPr>
        <p:blipFill>
          <a:blip r:embed="rId3" cstate="print"/>
          <a:srcRect r="27420"/>
          <a:stretch>
            <a:fillRect/>
          </a:stretch>
        </p:blipFill>
        <p:spPr bwMode="auto">
          <a:xfrm>
            <a:off x="2778021" y="3429001"/>
            <a:ext cx="8067779" cy="1824038"/>
          </a:xfrm>
          <a:prstGeom prst="rect">
            <a:avLst/>
          </a:prstGeom>
          <a:noFill/>
          <a:ln w="9525" algn="in">
            <a:noFill/>
            <a:miter lim="800000"/>
            <a:headEnd/>
            <a:tailEnd/>
          </a:ln>
          <a:effectLst/>
        </p:spPr>
      </p:pic>
      <p:sp>
        <p:nvSpPr>
          <p:cNvPr id="10" name="Text Box 6"/>
          <p:cNvSpPr txBox="1">
            <a:spLocks noChangeArrowheads="1"/>
          </p:cNvSpPr>
          <p:nvPr/>
        </p:nvSpPr>
        <p:spPr bwMode="auto">
          <a:xfrm>
            <a:off x="3181350" y="3810000"/>
            <a:ext cx="1720850" cy="27622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200" b="0" i="0" u="none" strike="noStrike" cap="none" normalizeH="0" baseline="0" dirty="0">
                <a:ln>
                  <a:noFill/>
                </a:ln>
                <a:solidFill>
                  <a:srgbClr val="FFFFFF"/>
                </a:solidFill>
                <a:effectLst/>
                <a:latin typeface="Articulate" pitchFamily="2" charset="0"/>
                <a:cs typeface="Arial" pitchFamily="34" charset="0"/>
              </a:rPr>
              <a:t>1</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1212119880"/>
      </p:ext>
    </p:extLst>
  </p:cSld>
  <p:clrMapOvr>
    <a:masterClrMapping/>
  </p:clrMapOvr>
  <p:transition spd="slow">
    <p:random/>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55600" y="449759"/>
            <a:ext cx="10541000" cy="769441"/>
          </a:xfrm>
          <a:prstGeom prst="rect">
            <a:avLst/>
          </a:prstGeom>
          <a:noFill/>
        </p:spPr>
        <p:txBody>
          <a:bodyPr wrap="square" rtlCol="0">
            <a:spAutoFit/>
          </a:bodyPr>
          <a:lstStyle/>
          <a:p>
            <a:r>
              <a:rPr lang="en-US" sz="4400" b="1" dirty="0">
                <a:solidFill>
                  <a:schemeClr val="tx1"/>
                </a:solidFill>
                <a:latin typeface="+mj-lt"/>
                <a:cs typeface="Leelawadee" pitchFamily="34" charset="-34"/>
              </a:rPr>
              <a:t>Your ideas for One Thing Questions</a:t>
            </a:r>
          </a:p>
        </p:txBody>
      </p:sp>
      <p:pic>
        <p:nvPicPr>
          <p:cNvPr id="740354" name="Picture 2"/>
          <p:cNvPicPr>
            <a:picLocks noChangeAspect="1" noChangeArrowheads="1"/>
          </p:cNvPicPr>
          <p:nvPr/>
        </p:nvPicPr>
        <p:blipFill>
          <a:blip r:embed="rId4"/>
          <a:srcRect/>
          <a:stretch>
            <a:fillRect/>
          </a:stretch>
        </p:blipFill>
        <p:spPr bwMode="auto">
          <a:xfrm>
            <a:off x="-50800" y="1371600"/>
            <a:ext cx="9912508" cy="7315200"/>
          </a:xfrm>
          <a:prstGeom prst="rect">
            <a:avLst/>
          </a:prstGeom>
          <a:noFill/>
          <a:ln w="9525">
            <a:noFill/>
            <a:miter lim="800000"/>
            <a:headEnd/>
            <a:tailEnd/>
          </a:ln>
        </p:spPr>
      </p:pic>
      <p:sp>
        <p:nvSpPr>
          <p:cNvPr id="21" name="TextBox 20"/>
          <p:cNvSpPr txBox="1"/>
          <p:nvPr/>
        </p:nvSpPr>
        <p:spPr>
          <a:xfrm>
            <a:off x="1082323" y="2891135"/>
            <a:ext cx="3286477" cy="461665"/>
          </a:xfrm>
          <a:prstGeom prst="rect">
            <a:avLst/>
          </a:prstGeom>
          <a:noFill/>
        </p:spPr>
        <p:txBody>
          <a:bodyPr wrap="none" rtlCol="0">
            <a:spAutoFit/>
          </a:bodyPr>
          <a:lstStyle/>
          <a:p>
            <a:r>
              <a:rPr lang="en-US" sz="2400" dirty="0">
                <a:latin typeface="Kuhltom" pitchFamily="2" charset="0"/>
              </a:rPr>
              <a:t>What’s one thing...</a:t>
            </a:r>
            <a:endParaRPr lang="en-US" sz="2800" dirty="0">
              <a:latin typeface="Kuhltom" pitchFamily="2" charset="0"/>
            </a:endParaRPr>
          </a:p>
        </p:txBody>
      </p:sp>
      <p:sp>
        <p:nvSpPr>
          <p:cNvPr id="22" name="TextBox 21"/>
          <p:cNvSpPr txBox="1"/>
          <p:nvPr/>
        </p:nvSpPr>
        <p:spPr>
          <a:xfrm>
            <a:off x="5573201" y="4426803"/>
            <a:ext cx="2991524" cy="830997"/>
          </a:xfrm>
          <a:prstGeom prst="rect">
            <a:avLst/>
          </a:prstGeom>
          <a:noFill/>
        </p:spPr>
        <p:txBody>
          <a:bodyPr wrap="none" rtlCol="0">
            <a:spAutoFit/>
          </a:bodyPr>
          <a:lstStyle/>
          <a:p>
            <a:pPr algn="l"/>
            <a:r>
              <a:rPr lang="en-US" sz="2400" dirty="0">
                <a:latin typeface="Kuhltom" pitchFamily="2" charset="0"/>
              </a:rPr>
              <a:t>What’s one way </a:t>
            </a:r>
            <a:br>
              <a:rPr lang="en-US" sz="2400" dirty="0">
                <a:latin typeface="Kuhltom" pitchFamily="2" charset="0"/>
              </a:rPr>
            </a:br>
            <a:r>
              <a:rPr lang="en-US" sz="2400" dirty="0">
                <a:latin typeface="Kuhltom" pitchFamily="2" charset="0"/>
              </a:rPr>
              <a:t>I can...</a:t>
            </a:r>
            <a:endParaRPr lang="en-US" sz="2800" dirty="0">
              <a:latin typeface="Kuhltom" pitchFamily="2" charset="0"/>
            </a:endParaRPr>
          </a:p>
        </p:txBody>
      </p:sp>
      <p:sp>
        <p:nvSpPr>
          <p:cNvPr id="23" name="TextBox 22"/>
          <p:cNvSpPr txBox="1"/>
          <p:nvPr/>
        </p:nvSpPr>
        <p:spPr>
          <a:xfrm>
            <a:off x="5501923" y="3135868"/>
            <a:ext cx="3286477" cy="461665"/>
          </a:xfrm>
          <a:prstGeom prst="rect">
            <a:avLst/>
          </a:prstGeom>
          <a:noFill/>
        </p:spPr>
        <p:txBody>
          <a:bodyPr wrap="none" rtlCol="0">
            <a:spAutoFit/>
          </a:bodyPr>
          <a:lstStyle/>
          <a:p>
            <a:r>
              <a:rPr lang="en-US" sz="2400" dirty="0">
                <a:latin typeface="Kuhltom" pitchFamily="2" charset="0"/>
              </a:rPr>
              <a:t>What’s one thing...</a:t>
            </a:r>
            <a:endParaRPr lang="en-US" sz="2800" dirty="0">
              <a:latin typeface="Kuhltom" pitchFamily="2" charset="0"/>
            </a:endParaRPr>
          </a:p>
        </p:txBody>
      </p:sp>
      <p:sp>
        <p:nvSpPr>
          <p:cNvPr id="24" name="TextBox 23"/>
          <p:cNvSpPr txBox="1"/>
          <p:nvPr/>
        </p:nvSpPr>
        <p:spPr>
          <a:xfrm>
            <a:off x="1082323" y="5024735"/>
            <a:ext cx="3286477" cy="461665"/>
          </a:xfrm>
          <a:prstGeom prst="rect">
            <a:avLst/>
          </a:prstGeom>
          <a:noFill/>
        </p:spPr>
        <p:txBody>
          <a:bodyPr wrap="none" rtlCol="0">
            <a:spAutoFit/>
          </a:bodyPr>
          <a:lstStyle/>
          <a:p>
            <a:r>
              <a:rPr lang="en-US" sz="2400" dirty="0">
                <a:latin typeface="Kuhltom" pitchFamily="2" charset="0"/>
              </a:rPr>
              <a:t>What’s one thing...</a:t>
            </a:r>
            <a:endParaRPr lang="en-US" sz="2800" dirty="0">
              <a:latin typeface="Kuhltom" pitchFamily="2" charset="0"/>
            </a:endParaRPr>
          </a:p>
        </p:txBody>
      </p:sp>
      <p:sp>
        <p:nvSpPr>
          <p:cNvPr id="25" name="TextBox 24"/>
          <p:cNvSpPr txBox="1"/>
          <p:nvPr/>
        </p:nvSpPr>
        <p:spPr>
          <a:xfrm>
            <a:off x="1224876" y="3657600"/>
            <a:ext cx="2991524" cy="830997"/>
          </a:xfrm>
          <a:prstGeom prst="rect">
            <a:avLst/>
          </a:prstGeom>
          <a:noFill/>
        </p:spPr>
        <p:txBody>
          <a:bodyPr wrap="none" rtlCol="0">
            <a:spAutoFit/>
          </a:bodyPr>
          <a:lstStyle/>
          <a:p>
            <a:r>
              <a:rPr lang="en-US" sz="2400" dirty="0">
                <a:latin typeface="Kuhltom" pitchFamily="2" charset="0"/>
              </a:rPr>
              <a:t>What’s one way </a:t>
            </a:r>
          </a:p>
          <a:p>
            <a:pPr algn="l"/>
            <a:r>
              <a:rPr lang="en-US" sz="2400" dirty="0">
                <a:latin typeface="Kuhltom" pitchFamily="2" charset="0"/>
              </a:rPr>
              <a:t>I can...</a:t>
            </a:r>
            <a:endParaRPr lang="en-US" sz="2800" dirty="0">
              <a:latin typeface="Kuhltom" pitchFamily="2" charset="0"/>
            </a:endParaRPr>
          </a:p>
        </p:txBody>
      </p:sp>
      <p:sp>
        <p:nvSpPr>
          <p:cNvPr id="26" name="TextBox 25"/>
          <p:cNvSpPr txBox="1"/>
          <p:nvPr/>
        </p:nvSpPr>
        <p:spPr>
          <a:xfrm>
            <a:off x="5425723" y="3741003"/>
            <a:ext cx="3286477" cy="461665"/>
          </a:xfrm>
          <a:prstGeom prst="rect">
            <a:avLst/>
          </a:prstGeom>
          <a:noFill/>
        </p:spPr>
        <p:txBody>
          <a:bodyPr wrap="none" rtlCol="0">
            <a:spAutoFit/>
          </a:bodyPr>
          <a:lstStyle/>
          <a:p>
            <a:r>
              <a:rPr lang="en-US" sz="2400" dirty="0">
                <a:latin typeface="Kuhltom" pitchFamily="2" charset="0"/>
              </a:rPr>
              <a:t>What’s one thing...</a:t>
            </a:r>
            <a:endParaRPr lang="en-US" sz="2800" dirty="0">
              <a:latin typeface="Kuhltom" pitchFamily="2" charset="0"/>
            </a:endParaRPr>
          </a:p>
        </p:txBody>
      </p:sp>
      <p:grpSp>
        <p:nvGrpSpPr>
          <p:cNvPr id="14" name="Group 13"/>
          <p:cNvGrpSpPr/>
          <p:nvPr/>
        </p:nvGrpSpPr>
        <p:grpSpPr>
          <a:xfrm>
            <a:off x="101600" y="1626543"/>
            <a:ext cx="4724400" cy="659457"/>
            <a:chOff x="-1219204" y="1816614"/>
            <a:chExt cx="9448799" cy="659457"/>
          </a:xfrm>
        </p:grpSpPr>
        <p:sp>
          <p:nvSpPr>
            <p:cNvPr id="17" name="Rounded Rectangle 16"/>
            <p:cNvSpPr/>
            <p:nvPr/>
          </p:nvSpPr>
          <p:spPr>
            <a:xfrm>
              <a:off x="-762004" y="1816614"/>
              <a:ext cx="8534401" cy="659457"/>
            </a:xfrm>
            <a:prstGeom prst="roundRect">
              <a:avLst>
                <a:gd name="adj" fmla="val 10000"/>
              </a:avLst>
            </a:prstGeom>
            <a:solidFill>
              <a:srgbClr val="0080C0"/>
            </a:solidFill>
            <a:effectLst>
              <a:outerShdw blurRad="76200" dir="13500000" sy="23000" kx="1200000" algn="br" rotWithShape="0">
                <a:prstClr val="black">
                  <a:alpha val="20000"/>
                </a:prstClr>
              </a:outerShdw>
            </a:effectLst>
          </p:spPr>
          <p:style>
            <a:lnRef idx="0">
              <a:schemeClr val="accent1">
                <a:hueOff val="0"/>
                <a:satOff val="0"/>
                <a:lumOff val="0"/>
                <a:alphaOff val="0"/>
              </a:schemeClr>
            </a:lnRef>
            <a:fillRef idx="1">
              <a:scrgbClr r="0" g="0" b="0"/>
            </a:fillRef>
            <a:effectRef idx="0">
              <a:scrgbClr r="0" g="0" b="0"/>
            </a:effectRef>
            <a:fontRef idx="minor">
              <a:schemeClr val="dk1">
                <a:hueOff val="0"/>
                <a:satOff val="0"/>
                <a:lumOff val="0"/>
                <a:alphaOff val="0"/>
              </a:schemeClr>
            </a:fontRef>
          </p:style>
        </p:sp>
        <p:sp>
          <p:nvSpPr>
            <p:cNvPr id="18" name="Rounded Rectangle 4"/>
            <p:cNvSpPr/>
            <p:nvPr/>
          </p:nvSpPr>
          <p:spPr>
            <a:xfrm>
              <a:off x="-1219204" y="1816614"/>
              <a:ext cx="9448799" cy="6594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7584" tIns="227584" rIns="227584" bIns="227584" numCol="1" spcCol="1270" anchor="ctr" anchorCtr="0">
              <a:noAutofit/>
            </a:bodyPr>
            <a:lstStyle/>
            <a:p>
              <a:pPr lvl="0" algn="ctr" defTabSz="1422400">
                <a:lnSpc>
                  <a:spcPct val="90000"/>
                </a:lnSpc>
                <a:spcBef>
                  <a:spcPct val="0"/>
                </a:spcBef>
                <a:spcAft>
                  <a:spcPct val="35000"/>
                </a:spcAft>
              </a:pPr>
              <a:r>
                <a:rPr lang="en-US" sz="2800" b="1" kern="1200" dirty="0">
                  <a:solidFill>
                    <a:schemeClr val="bg1"/>
                  </a:solidFill>
                </a:rPr>
                <a:t>Questions for Your Manager</a:t>
              </a:r>
            </a:p>
          </p:txBody>
        </p:sp>
      </p:grpSp>
      <p:grpSp>
        <p:nvGrpSpPr>
          <p:cNvPr id="28" name="Group 27"/>
          <p:cNvGrpSpPr/>
          <p:nvPr/>
        </p:nvGrpSpPr>
        <p:grpSpPr>
          <a:xfrm>
            <a:off x="4902200" y="1600200"/>
            <a:ext cx="4724400" cy="659457"/>
            <a:chOff x="-1524004" y="1816614"/>
            <a:chExt cx="9448799" cy="659457"/>
          </a:xfrm>
        </p:grpSpPr>
        <p:sp>
          <p:nvSpPr>
            <p:cNvPr id="29" name="Rounded Rectangle 28"/>
            <p:cNvSpPr/>
            <p:nvPr/>
          </p:nvSpPr>
          <p:spPr>
            <a:xfrm>
              <a:off x="-1066804" y="1816614"/>
              <a:ext cx="8839201" cy="659457"/>
            </a:xfrm>
            <a:prstGeom prst="roundRect">
              <a:avLst>
                <a:gd name="adj" fmla="val 10000"/>
              </a:avLst>
            </a:prstGeom>
            <a:solidFill>
              <a:srgbClr val="008080"/>
            </a:solidFill>
            <a:effectLst>
              <a:outerShdw blurRad="76200" dir="13500000" sy="23000" kx="1200000" algn="br" rotWithShape="0">
                <a:prstClr val="black">
                  <a:alpha val="20000"/>
                </a:prstClr>
              </a:outerShdw>
            </a:effectLst>
          </p:spPr>
          <p:style>
            <a:lnRef idx="0">
              <a:schemeClr val="accent1">
                <a:hueOff val="0"/>
                <a:satOff val="0"/>
                <a:lumOff val="0"/>
                <a:alphaOff val="0"/>
              </a:schemeClr>
            </a:lnRef>
            <a:fillRef idx="1">
              <a:scrgbClr r="0" g="0" b="0"/>
            </a:fillRef>
            <a:effectRef idx="0">
              <a:scrgbClr r="0" g="0" b="0"/>
            </a:effectRef>
            <a:fontRef idx="minor">
              <a:schemeClr val="dk1">
                <a:hueOff val="0"/>
                <a:satOff val="0"/>
                <a:lumOff val="0"/>
                <a:alphaOff val="0"/>
              </a:schemeClr>
            </a:fontRef>
          </p:style>
        </p:sp>
        <p:sp>
          <p:nvSpPr>
            <p:cNvPr id="30" name="Rounded Rectangle 4"/>
            <p:cNvSpPr/>
            <p:nvPr/>
          </p:nvSpPr>
          <p:spPr>
            <a:xfrm>
              <a:off x="-1524004" y="1816614"/>
              <a:ext cx="9448799" cy="6594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7584" tIns="227584" rIns="227584" bIns="227584" numCol="1" spcCol="1270" anchor="ctr" anchorCtr="0">
              <a:noAutofit/>
            </a:bodyPr>
            <a:lstStyle/>
            <a:p>
              <a:pPr lvl="0" algn="ctr" defTabSz="1422400">
                <a:lnSpc>
                  <a:spcPct val="90000"/>
                </a:lnSpc>
                <a:spcBef>
                  <a:spcPct val="0"/>
                </a:spcBef>
                <a:spcAft>
                  <a:spcPct val="35000"/>
                </a:spcAft>
              </a:pPr>
              <a:r>
                <a:rPr lang="en-US" sz="2800" b="1" kern="1200" dirty="0">
                  <a:solidFill>
                    <a:schemeClr val="bg1"/>
                  </a:solidFill>
                </a:rPr>
                <a:t>Questions for Others</a:t>
              </a:r>
            </a:p>
          </p:txBody>
        </p:sp>
      </p:grpSp>
      <p:grpSp>
        <p:nvGrpSpPr>
          <p:cNvPr id="31" name="Group 30"/>
          <p:cNvGrpSpPr/>
          <p:nvPr/>
        </p:nvGrpSpPr>
        <p:grpSpPr>
          <a:xfrm>
            <a:off x="9855200" y="7467600"/>
            <a:ext cx="2895600" cy="728870"/>
            <a:chOff x="10083800" y="8458200"/>
            <a:chExt cx="2895600" cy="728870"/>
          </a:xfrm>
        </p:grpSpPr>
        <p:sp>
          <p:nvSpPr>
            <p:cNvPr id="32" name="Text Box 4"/>
            <p:cNvSpPr txBox="1">
              <a:spLocks noChangeArrowheads="1"/>
            </p:cNvSpPr>
            <p:nvPr/>
          </p:nvSpPr>
          <p:spPr bwMode="auto">
            <a:xfrm>
              <a:off x="10315400" y="85443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5-Minutes</a:t>
              </a:r>
            </a:p>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tx1"/>
                  </a:solidFill>
                  <a:latin typeface="Calibri" pitchFamily="34" charset="0"/>
                  <a:cs typeface="Arial" pitchFamily="34" charset="0"/>
                </a:rPr>
                <a:t>Page 14 </a:t>
              </a:r>
              <a:r>
                <a:rPr lang="en-US" sz="2800" b="1" dirty="0">
                  <a:solidFill>
                    <a:schemeClr val="bg1"/>
                  </a:solidFill>
                  <a:latin typeface="Calibri" pitchFamily="34" charset="0"/>
                  <a:cs typeface="Arial" pitchFamily="34" charset="0"/>
                </a:rPr>
                <a:t>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33" name="Picture 3" descr="Image result for clock icon"/>
            <p:cNvPicPr>
              <a:picLocks noChangeAspect="1" noChangeArrowheads="1"/>
            </p:cNvPicPr>
            <p:nvPr/>
          </p:nvPicPr>
          <p:blipFill>
            <a:blip r:embed="rId5"/>
            <a:srcRect/>
            <a:stretch>
              <a:fillRect/>
            </a:stretch>
          </p:blipFill>
          <p:spPr bwMode="auto">
            <a:xfrm>
              <a:off x="10083800" y="8458200"/>
              <a:ext cx="732600" cy="728870"/>
            </a:xfrm>
            <a:prstGeom prst="rect">
              <a:avLst/>
            </a:prstGeom>
            <a:solidFill>
              <a:srgbClr val="74B230"/>
            </a:solidFill>
            <a:ln w="9525" algn="in">
              <a:noFill/>
              <a:miter lim="800000"/>
              <a:headEnd/>
              <a:tailEnd/>
            </a:ln>
          </p:spPr>
        </p:pic>
      </p:gr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1000"/>
                                        <p:tgtEl>
                                          <p:spTgt spid="23"/>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1000"/>
                                        <p:tgtEl>
                                          <p:spTgt spid="21"/>
                                        </p:tgtEl>
                                      </p:cBhvr>
                                    </p:animEffect>
                                  </p:childTnLst>
                                </p:cTn>
                              </p:par>
                            </p:childTnLst>
                          </p:cTn>
                        </p:par>
                        <p:par>
                          <p:cTn id="12" fill="hold">
                            <p:stCondLst>
                              <p:cond delay="2000"/>
                            </p:stCondLst>
                            <p:childTnLst>
                              <p:par>
                                <p:cTn id="13" presetID="22" presetClass="entr" presetSubtype="8"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ipe(left)">
                                      <p:cBhvr>
                                        <p:cTn id="15" dur="1000"/>
                                        <p:tgtEl>
                                          <p:spTgt spid="25"/>
                                        </p:tgtEl>
                                      </p:cBhvr>
                                    </p:animEffect>
                                  </p:childTnLst>
                                </p:cTn>
                              </p:par>
                            </p:childTnLst>
                          </p:cTn>
                        </p:par>
                        <p:par>
                          <p:cTn id="16" fill="hold">
                            <p:stCondLst>
                              <p:cond delay="3000"/>
                            </p:stCondLst>
                            <p:childTnLst>
                              <p:par>
                                <p:cTn id="17" presetID="22" presetClass="entr" presetSubtype="8"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wipe(left)">
                                      <p:cBhvr>
                                        <p:cTn id="19" dur="500"/>
                                        <p:tgtEl>
                                          <p:spTgt spid="26"/>
                                        </p:tgtEl>
                                      </p:cBhvr>
                                    </p:animEffect>
                                  </p:childTnLst>
                                </p:cTn>
                              </p:par>
                            </p:childTnLst>
                          </p:cTn>
                        </p:par>
                        <p:par>
                          <p:cTn id="20" fill="hold">
                            <p:stCondLst>
                              <p:cond delay="3500"/>
                            </p:stCondLst>
                            <p:childTnLst>
                              <p:par>
                                <p:cTn id="21" presetID="22" presetClass="entr" presetSubtype="8" fill="hold" grpId="0"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left)">
                                      <p:cBhvr>
                                        <p:cTn id="23" dur="1000"/>
                                        <p:tgtEl>
                                          <p:spTgt spid="22"/>
                                        </p:tgtEl>
                                      </p:cBhvr>
                                    </p:animEffect>
                                  </p:childTnLst>
                                </p:cTn>
                              </p:par>
                            </p:childTnLst>
                          </p:cTn>
                        </p:par>
                        <p:par>
                          <p:cTn id="24" fill="hold">
                            <p:stCondLst>
                              <p:cond delay="4500"/>
                            </p:stCondLst>
                            <p:childTnLst>
                              <p:par>
                                <p:cTn id="25" presetID="22" presetClass="entr" presetSubtype="8" fill="hold" grpId="0" nodeType="after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left)">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p:bldP spid="2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xfrm>
            <a:off x="0" y="3581402"/>
            <a:ext cx="13004800" cy="1219198"/>
          </a:xfrm>
          <a:solidFill>
            <a:schemeClr val="tx1"/>
          </a:solidFill>
        </p:spPr>
        <p:txBody>
          <a:bodyPr/>
          <a:lstStyle/>
          <a:p>
            <a:r>
              <a:rPr lang="en-US" sz="6000" dirty="0"/>
              <a:t>Share Ideas for One-Thing Questions</a:t>
            </a:r>
          </a:p>
        </p:txBody>
      </p:sp>
      <p:pic>
        <p:nvPicPr>
          <p:cNvPr id="726018" name="Picture 2"/>
          <p:cNvPicPr>
            <a:picLocks noChangeAspect="1" noChangeArrowheads="1"/>
          </p:cNvPicPr>
          <p:nvPr/>
        </p:nvPicPr>
        <p:blipFill>
          <a:blip r:embed="rId4"/>
          <a:srcRect/>
          <a:stretch>
            <a:fillRect/>
          </a:stretch>
        </p:blipFill>
        <p:spPr bwMode="auto">
          <a:xfrm>
            <a:off x="4521200" y="5867400"/>
            <a:ext cx="3886200" cy="3886200"/>
          </a:xfrm>
          <a:prstGeom prst="rect">
            <a:avLst/>
          </a:prstGeom>
          <a:noFill/>
          <a:ln w="9525" algn="in">
            <a:noFill/>
            <a:miter lim="800000"/>
            <a:headEnd/>
            <a:tailEnd/>
          </a:ln>
          <a:effectLst/>
        </p:spPr>
      </p:pic>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1</a:t>
            </a:fld>
            <a:endParaRPr lang="en-US" dirty="0">
              <a:solidFill>
                <a:prstClr val="black"/>
              </a:solidFill>
            </a:endParaRPr>
          </a:p>
        </p:txBody>
      </p:sp>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4"/>
          </p:nvPr>
        </p:nvSpPr>
        <p:spPr>
          <a:solidFill>
            <a:srgbClr val="0070C0"/>
          </a:solidFill>
        </p:spPr>
        <p:txBody>
          <a:bodyPr/>
          <a:lstStyle/>
          <a:p>
            <a:endParaRPr lang="en-US" dirty="0"/>
          </a:p>
        </p:txBody>
      </p:sp>
      <p:sp>
        <p:nvSpPr>
          <p:cNvPr id="9" name="Title 8"/>
          <p:cNvSpPr>
            <a:spLocks noGrp="1"/>
          </p:cNvSpPr>
          <p:nvPr>
            <p:ph type="title"/>
          </p:nvPr>
        </p:nvSpPr>
        <p:spPr/>
        <p:txBody>
          <a:bodyPr/>
          <a:lstStyle/>
          <a:p>
            <a:r>
              <a:rPr lang="en-US" sz="7200" dirty="0">
                <a:latin typeface="Calibri" pitchFamily="34" charset="0"/>
              </a:rPr>
              <a:t>Asking better questions leads to </a:t>
            </a:r>
            <a:br>
              <a:rPr lang="en-US" sz="7200" dirty="0">
                <a:latin typeface="Calibri" pitchFamily="34" charset="0"/>
              </a:rPr>
            </a:br>
            <a:r>
              <a:rPr lang="en-US" sz="7200" dirty="0">
                <a:latin typeface="Calibri" pitchFamily="34" charset="0"/>
              </a:rPr>
              <a:t>receiving better information (insight)</a:t>
            </a:r>
          </a:p>
        </p:txBody>
      </p:sp>
      <p:sp>
        <p:nvSpPr>
          <p:cNvPr id="11" name="Text Placeholder 10"/>
          <p:cNvSpPr>
            <a:spLocks noGrp="1"/>
          </p:cNvSpPr>
          <p:nvPr>
            <p:ph type="body" sz="quarter" idx="13"/>
          </p:nvPr>
        </p:nvSpPr>
        <p:spPr>
          <a:xfrm>
            <a:off x="330200" y="6629400"/>
            <a:ext cx="11963399" cy="990601"/>
          </a:xfrm>
        </p:spPr>
        <p:txBody>
          <a:bodyPr/>
          <a:lstStyle/>
          <a:p>
            <a:r>
              <a:rPr lang="en-US" dirty="0">
                <a:latin typeface="Arial Narrow" pitchFamily="34" charset="0"/>
              </a:rPr>
              <a:t>One-Thing and Clarifying Questions</a:t>
            </a:r>
          </a:p>
        </p:txBody>
      </p:sp>
      <p:sp>
        <p:nvSpPr>
          <p:cNvPr id="8" name="Slide Number Placeholder 7"/>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2</a:t>
            </a:fld>
            <a:endParaRPr lang="en-US" dirty="0">
              <a:solidFill>
                <a:prstClr val="black"/>
              </a:solidFill>
            </a:endParaRPr>
          </a:p>
        </p:txBody>
      </p:sp>
    </p:spTree>
    <p:custDataLst>
      <p:tags r:id="rId1"/>
    </p:custDataLst>
  </p:cSld>
  <p:clrMapOvr>
    <a:masterClrMapping/>
  </p:clrMapOvr>
  <p:transition spd="slow">
    <p:random/>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3</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6" name="Text Box 2"/>
          <p:cNvSpPr txBox="1">
            <a:spLocks noChangeArrowheads="1"/>
          </p:cNvSpPr>
          <p:nvPr/>
        </p:nvSpPr>
        <p:spPr bwMode="auto">
          <a:xfrm>
            <a:off x="1549400" y="5562600"/>
            <a:ext cx="10591800" cy="22860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4800" b="1" dirty="0">
                <a:solidFill>
                  <a:srgbClr val="4D4D4F"/>
                </a:solidFill>
                <a:latin typeface="+mn-lt"/>
                <a:cs typeface="Arial" pitchFamily="34" charset="0"/>
              </a:rPr>
              <a:t>Giving Positive Feedback</a:t>
            </a:r>
            <a:br>
              <a:rPr lang="en-US" sz="4800" b="1" dirty="0">
                <a:solidFill>
                  <a:srgbClr val="4D4D4F"/>
                </a:solidFill>
                <a:latin typeface="+mn-lt"/>
                <a:cs typeface="Arial" pitchFamily="34" charset="0"/>
              </a:rPr>
            </a:br>
            <a:r>
              <a:rPr lang="en-US" sz="3200" b="1" dirty="0"/>
              <a:t> </a:t>
            </a:r>
            <a:r>
              <a:rPr lang="en-US" sz="3200" b="1" dirty="0">
                <a:latin typeface="+mn-lt"/>
              </a:rPr>
              <a:t>Give more complete information to others when volunteering your positive feedback or being asked for input</a:t>
            </a:r>
            <a:endParaRPr lang="en-US" sz="2400" dirty="0">
              <a:latin typeface="+mn-lt"/>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 name="Line 3"/>
          <p:cNvSpPr>
            <a:spLocks noChangeShapeType="1"/>
          </p:cNvSpPr>
          <p:nvPr/>
        </p:nvSpPr>
        <p:spPr bwMode="auto">
          <a:xfrm flipV="1">
            <a:off x="558800" y="5486400"/>
            <a:ext cx="1158240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pic>
        <p:nvPicPr>
          <p:cNvPr id="9" name="Picture 5"/>
          <p:cNvPicPr>
            <a:picLocks noChangeAspect="1" noChangeArrowheads="1"/>
          </p:cNvPicPr>
          <p:nvPr/>
        </p:nvPicPr>
        <p:blipFill>
          <a:blip r:embed="rId3" cstate="print"/>
          <a:srcRect r="27420"/>
          <a:stretch>
            <a:fillRect/>
          </a:stretch>
        </p:blipFill>
        <p:spPr bwMode="auto">
          <a:xfrm>
            <a:off x="2778021" y="3429001"/>
            <a:ext cx="8067779" cy="1824038"/>
          </a:xfrm>
          <a:prstGeom prst="rect">
            <a:avLst/>
          </a:prstGeom>
          <a:noFill/>
          <a:ln w="9525" algn="in">
            <a:noFill/>
            <a:miter lim="800000"/>
            <a:headEnd/>
            <a:tailEnd/>
          </a:ln>
          <a:effectLst/>
        </p:spPr>
      </p:pic>
      <p:sp>
        <p:nvSpPr>
          <p:cNvPr id="10" name="Text Box 6"/>
          <p:cNvSpPr txBox="1">
            <a:spLocks noChangeArrowheads="1"/>
          </p:cNvSpPr>
          <p:nvPr/>
        </p:nvSpPr>
        <p:spPr bwMode="auto">
          <a:xfrm>
            <a:off x="8058150" y="3810000"/>
            <a:ext cx="1720850" cy="27622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200" b="0" i="0" u="none" strike="noStrike" cap="none" normalizeH="0" baseline="0" dirty="0">
                <a:ln>
                  <a:noFill/>
                </a:ln>
                <a:solidFill>
                  <a:srgbClr val="FFFFFF"/>
                </a:solidFill>
                <a:effectLst/>
                <a:latin typeface="Articulate" pitchFamily="2" charset="0"/>
                <a:cs typeface="Arial" pitchFamily="34" charset="0"/>
              </a:rPr>
              <a:t>4</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cSld>
  <p:clrMapOvr>
    <a:masterClrMapping/>
  </p:clrMapOvr>
  <p:transition spd="slow">
    <p:random/>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fld id="{571C28B2-6165-4E51-AF07-4DBEEC1BC9B6}" type="slidenum">
              <a:rPr lang="en-US" smtClean="0"/>
              <a:pPr/>
              <a:t>54</a:t>
            </a:fld>
            <a:endParaRPr lang="en-US" dirty="0"/>
          </a:p>
        </p:txBody>
      </p:sp>
      <p:sp>
        <p:nvSpPr>
          <p:cNvPr id="8" name="TextBox 7"/>
          <p:cNvSpPr txBox="1"/>
          <p:nvPr/>
        </p:nvSpPr>
        <p:spPr>
          <a:xfrm>
            <a:off x="198229" y="6266241"/>
            <a:ext cx="8015657" cy="534158"/>
          </a:xfrm>
          <a:prstGeom prst="rect">
            <a:avLst/>
          </a:prstGeom>
          <a:solidFill>
            <a:srgbClr val="00CC99"/>
          </a:solidFill>
        </p:spPr>
        <p:txBody>
          <a:bodyPr wrap="none" rtlCol="0">
            <a:spAutoFit/>
          </a:bodyPr>
          <a:lstStyle/>
          <a:p>
            <a:r>
              <a:rPr lang="en-US" sz="3600" dirty="0">
                <a:solidFill>
                  <a:schemeClr val="bg1"/>
                </a:solidFill>
                <a:latin typeface="Leelawadee" pitchFamily="34" charset="-34"/>
                <a:cs typeface="Leelawadee" pitchFamily="34" charset="-34"/>
              </a:rPr>
              <a:t>Finds solutions when none are evident</a:t>
            </a:r>
          </a:p>
        </p:txBody>
      </p:sp>
      <p:sp>
        <p:nvSpPr>
          <p:cNvPr id="9" name="TextBox 8"/>
          <p:cNvSpPr txBox="1"/>
          <p:nvPr/>
        </p:nvSpPr>
        <p:spPr>
          <a:xfrm>
            <a:off x="218549" y="6863503"/>
            <a:ext cx="3291222" cy="534158"/>
          </a:xfrm>
          <a:prstGeom prst="rect">
            <a:avLst/>
          </a:prstGeom>
          <a:solidFill>
            <a:srgbClr val="00CC66"/>
          </a:solidFill>
        </p:spPr>
        <p:txBody>
          <a:bodyPr wrap="none" rtlCol="0">
            <a:spAutoFit/>
          </a:bodyPr>
          <a:lstStyle/>
          <a:p>
            <a:r>
              <a:rPr lang="en-US" sz="3600" dirty="0">
                <a:solidFill>
                  <a:schemeClr val="bg1"/>
                </a:solidFill>
                <a:latin typeface="Leelawadee" pitchFamily="34" charset="-34"/>
                <a:cs typeface="Leelawadee" pitchFamily="34" charset="-34"/>
              </a:rPr>
              <a:t>Excellent coach</a:t>
            </a:r>
          </a:p>
        </p:txBody>
      </p:sp>
      <p:sp>
        <p:nvSpPr>
          <p:cNvPr id="10" name="TextBox 9"/>
          <p:cNvSpPr txBox="1"/>
          <p:nvPr/>
        </p:nvSpPr>
        <p:spPr>
          <a:xfrm>
            <a:off x="144008" y="5040795"/>
            <a:ext cx="12339489" cy="646331"/>
          </a:xfrm>
          <a:prstGeom prst="rect">
            <a:avLst/>
          </a:prstGeom>
          <a:solidFill>
            <a:srgbClr val="339966"/>
          </a:solidFill>
        </p:spPr>
        <p:txBody>
          <a:bodyPr wrap="square" rtlCol="0">
            <a:spAutoFit/>
          </a:bodyPr>
          <a:lstStyle/>
          <a:p>
            <a:pPr algn="l"/>
            <a:r>
              <a:rPr lang="en-US" sz="3600" dirty="0">
                <a:solidFill>
                  <a:schemeClr val="bg1"/>
                </a:solidFill>
                <a:latin typeface="Leelawadee" pitchFamily="34" charset="-34"/>
                <a:cs typeface="Leelawadee" pitchFamily="34" charset="-34"/>
              </a:rPr>
              <a:t>Raises issues early, before they become larger problems</a:t>
            </a:r>
          </a:p>
        </p:txBody>
      </p:sp>
      <p:sp>
        <p:nvSpPr>
          <p:cNvPr id="11" name="TextBox 10"/>
          <p:cNvSpPr txBox="1"/>
          <p:nvPr/>
        </p:nvSpPr>
        <p:spPr>
          <a:xfrm>
            <a:off x="155828" y="3814743"/>
            <a:ext cx="12339489" cy="1200329"/>
          </a:xfrm>
          <a:prstGeom prst="rect">
            <a:avLst/>
          </a:prstGeom>
          <a:solidFill>
            <a:srgbClr val="008080"/>
          </a:solidFill>
        </p:spPr>
        <p:txBody>
          <a:bodyPr wrap="square" rtlCol="0">
            <a:spAutoFit/>
          </a:bodyPr>
          <a:lstStyle/>
          <a:p>
            <a:pPr algn="l"/>
            <a:r>
              <a:rPr lang="en-US" sz="3600" dirty="0">
                <a:solidFill>
                  <a:schemeClr val="bg1"/>
                </a:solidFill>
                <a:latin typeface="Leelawadee" pitchFamily="34" charset="-34"/>
                <a:cs typeface="Leelawadee" pitchFamily="34" charset="-34"/>
              </a:rPr>
              <a:t>Uses problems as opportunities to make situation better for the long term</a:t>
            </a:r>
          </a:p>
        </p:txBody>
      </p:sp>
      <p:sp>
        <p:nvSpPr>
          <p:cNvPr id="16" name="TextBox 15"/>
          <p:cNvSpPr txBox="1"/>
          <p:nvPr/>
        </p:nvSpPr>
        <p:spPr>
          <a:xfrm>
            <a:off x="162669" y="2557337"/>
            <a:ext cx="3903184" cy="646331"/>
          </a:xfrm>
          <a:prstGeom prst="rect">
            <a:avLst/>
          </a:prstGeom>
          <a:solidFill>
            <a:srgbClr val="33CCCC"/>
          </a:solidFill>
        </p:spPr>
        <p:txBody>
          <a:bodyPr wrap="none" rtlCol="0">
            <a:spAutoFit/>
          </a:bodyPr>
          <a:lstStyle/>
          <a:p>
            <a:r>
              <a:rPr lang="en-US" sz="3600" dirty="0">
                <a:solidFill>
                  <a:schemeClr val="bg1"/>
                </a:solidFill>
                <a:latin typeface="Leelawadee" pitchFamily="34" charset="-34"/>
                <a:cs typeface="Leelawadee" pitchFamily="34" charset="-34"/>
              </a:rPr>
              <a:t>Puts the team first</a:t>
            </a:r>
          </a:p>
        </p:txBody>
      </p:sp>
      <p:sp>
        <p:nvSpPr>
          <p:cNvPr id="17" name="TextBox 16"/>
          <p:cNvSpPr txBox="1"/>
          <p:nvPr/>
        </p:nvSpPr>
        <p:spPr>
          <a:xfrm>
            <a:off x="152509" y="1911006"/>
            <a:ext cx="11482632" cy="646331"/>
          </a:xfrm>
          <a:prstGeom prst="rect">
            <a:avLst/>
          </a:prstGeom>
          <a:solidFill>
            <a:srgbClr val="00CCFF"/>
          </a:solidFill>
        </p:spPr>
        <p:txBody>
          <a:bodyPr wrap="none" rtlCol="0">
            <a:spAutoFit/>
          </a:bodyPr>
          <a:lstStyle/>
          <a:p>
            <a:r>
              <a:rPr lang="en-US" sz="3600" dirty="0">
                <a:solidFill>
                  <a:schemeClr val="bg1"/>
                </a:solidFill>
                <a:latin typeface="Leelawadee" pitchFamily="34" charset="-34"/>
                <a:cs typeface="Leelawadee" pitchFamily="34" charset="-34"/>
              </a:rPr>
              <a:t>See problems, thinks of solutions, and then implements</a:t>
            </a:r>
          </a:p>
        </p:txBody>
      </p:sp>
      <p:sp>
        <p:nvSpPr>
          <p:cNvPr id="19" name="TextBox 18"/>
          <p:cNvSpPr txBox="1"/>
          <p:nvPr/>
        </p:nvSpPr>
        <p:spPr>
          <a:xfrm>
            <a:off x="152509" y="1326722"/>
            <a:ext cx="10029220" cy="646331"/>
          </a:xfrm>
          <a:prstGeom prst="rect">
            <a:avLst/>
          </a:prstGeom>
          <a:solidFill>
            <a:srgbClr val="6699FF"/>
          </a:solidFill>
        </p:spPr>
        <p:txBody>
          <a:bodyPr wrap="none" rtlCol="0">
            <a:spAutoFit/>
          </a:bodyPr>
          <a:lstStyle/>
          <a:p>
            <a:r>
              <a:rPr lang="en-US" sz="3600" dirty="0">
                <a:solidFill>
                  <a:schemeClr val="bg1"/>
                </a:solidFill>
                <a:latin typeface="Leelawadee" pitchFamily="34" charset="-34"/>
                <a:cs typeface="Leelawadee" pitchFamily="34" charset="-34"/>
              </a:rPr>
              <a:t>Assists others before completing their own work</a:t>
            </a:r>
          </a:p>
        </p:txBody>
      </p:sp>
      <p:sp>
        <p:nvSpPr>
          <p:cNvPr id="21" name="TextBox 20"/>
          <p:cNvSpPr txBox="1"/>
          <p:nvPr/>
        </p:nvSpPr>
        <p:spPr>
          <a:xfrm>
            <a:off x="132189" y="3212657"/>
            <a:ext cx="12363129" cy="646331"/>
          </a:xfrm>
          <a:prstGeom prst="rect">
            <a:avLst/>
          </a:prstGeom>
          <a:solidFill>
            <a:srgbClr val="006699"/>
          </a:solidFill>
        </p:spPr>
        <p:txBody>
          <a:bodyPr wrap="none" rtlCol="0">
            <a:spAutoFit/>
          </a:bodyPr>
          <a:lstStyle/>
          <a:p>
            <a:r>
              <a:rPr lang="en-US" sz="3600" dirty="0">
                <a:solidFill>
                  <a:schemeClr val="bg1"/>
                </a:solidFill>
                <a:latin typeface="Leelawadee" pitchFamily="34" charset="-34"/>
                <a:cs typeface="Leelawadee" pitchFamily="34" charset="-34"/>
              </a:rPr>
              <a:t>Has many face-to-face meetings and develops relationships</a:t>
            </a:r>
          </a:p>
        </p:txBody>
      </p:sp>
      <p:sp>
        <p:nvSpPr>
          <p:cNvPr id="23" name="TextBox 22"/>
          <p:cNvSpPr txBox="1"/>
          <p:nvPr/>
        </p:nvSpPr>
        <p:spPr>
          <a:xfrm>
            <a:off x="198229" y="7495078"/>
            <a:ext cx="5791842" cy="534158"/>
          </a:xfrm>
          <a:prstGeom prst="rect">
            <a:avLst/>
          </a:prstGeom>
          <a:solidFill>
            <a:srgbClr val="00CC00"/>
          </a:solidFill>
        </p:spPr>
        <p:txBody>
          <a:bodyPr wrap="none" rtlCol="0">
            <a:spAutoFit/>
          </a:bodyPr>
          <a:lstStyle/>
          <a:p>
            <a:r>
              <a:rPr lang="en-US" sz="3600" dirty="0">
                <a:solidFill>
                  <a:schemeClr val="bg1"/>
                </a:solidFill>
                <a:latin typeface="Leelawadee" pitchFamily="34" charset="-34"/>
                <a:cs typeface="Leelawadee" pitchFamily="34" charset="-34"/>
              </a:rPr>
              <a:t>Strong mechanical aptitude</a:t>
            </a:r>
          </a:p>
        </p:txBody>
      </p:sp>
      <p:sp>
        <p:nvSpPr>
          <p:cNvPr id="15" name="Rectangle 14"/>
          <p:cNvSpPr/>
          <p:nvPr/>
        </p:nvSpPr>
        <p:spPr bwMode="auto">
          <a:xfrm>
            <a:off x="45720" y="9486243"/>
            <a:ext cx="406400" cy="12595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Rectangle 17"/>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
        <p:nvSpPr>
          <p:cNvPr id="22" name="TextBox 21">
            <a:extLst>
              <a:ext uri="{FF2B5EF4-FFF2-40B4-BE49-F238E27FC236}">
                <a16:creationId xmlns:a16="http://schemas.microsoft.com/office/drawing/2014/main" id="{60FA4D5E-51CB-4319-922D-0F128DA93F85}"/>
              </a:ext>
            </a:extLst>
          </p:cNvPr>
          <p:cNvSpPr txBox="1"/>
          <p:nvPr/>
        </p:nvSpPr>
        <p:spPr>
          <a:xfrm>
            <a:off x="243949" y="8115878"/>
            <a:ext cx="4972515" cy="534158"/>
          </a:xfrm>
          <a:prstGeom prst="rect">
            <a:avLst/>
          </a:prstGeom>
          <a:solidFill>
            <a:srgbClr val="92D050"/>
          </a:solidFill>
        </p:spPr>
        <p:txBody>
          <a:bodyPr wrap="none" rtlCol="0">
            <a:spAutoFit/>
          </a:bodyPr>
          <a:lstStyle/>
          <a:p>
            <a:r>
              <a:rPr lang="en-US" sz="3600" dirty="0">
                <a:solidFill>
                  <a:schemeClr val="bg1"/>
                </a:solidFill>
                <a:latin typeface="Leelawadee" pitchFamily="34" charset="-34"/>
                <a:cs typeface="Leelawadee" pitchFamily="34" charset="-34"/>
              </a:rPr>
              <a:t>Says “we” more than “I”</a:t>
            </a:r>
          </a:p>
        </p:txBody>
      </p:sp>
      <p:sp>
        <p:nvSpPr>
          <p:cNvPr id="24" name="TextBox 23">
            <a:extLst>
              <a:ext uri="{FF2B5EF4-FFF2-40B4-BE49-F238E27FC236}">
                <a16:creationId xmlns:a16="http://schemas.microsoft.com/office/drawing/2014/main" id="{39843712-3821-41BE-9EF3-534FD4476F88}"/>
              </a:ext>
            </a:extLst>
          </p:cNvPr>
          <p:cNvSpPr txBox="1"/>
          <p:nvPr/>
        </p:nvSpPr>
        <p:spPr>
          <a:xfrm>
            <a:off x="198229" y="8721922"/>
            <a:ext cx="10622460" cy="534158"/>
          </a:xfrm>
          <a:prstGeom prst="rect">
            <a:avLst/>
          </a:prstGeom>
          <a:solidFill>
            <a:srgbClr val="339933"/>
          </a:solidFill>
        </p:spPr>
        <p:txBody>
          <a:bodyPr wrap="none" rtlCol="0">
            <a:spAutoFit/>
          </a:bodyPr>
          <a:lstStyle/>
          <a:p>
            <a:r>
              <a:rPr lang="en-US" sz="3600" dirty="0">
                <a:solidFill>
                  <a:schemeClr val="bg1"/>
                </a:solidFill>
                <a:latin typeface="Leelawadee" pitchFamily="34" charset="-34"/>
                <a:cs typeface="Leelawadee" pitchFamily="34" charset="-34"/>
              </a:rPr>
              <a:t>Direct and honest AND uses empathy and kindness</a:t>
            </a:r>
          </a:p>
        </p:txBody>
      </p:sp>
      <p:sp>
        <p:nvSpPr>
          <p:cNvPr id="25" name="TextBox 24">
            <a:extLst>
              <a:ext uri="{FF2B5EF4-FFF2-40B4-BE49-F238E27FC236}">
                <a16:creationId xmlns:a16="http://schemas.microsoft.com/office/drawing/2014/main" id="{4FECB518-F360-46C2-BE29-ABE963475BE7}"/>
              </a:ext>
            </a:extLst>
          </p:cNvPr>
          <p:cNvSpPr txBox="1"/>
          <p:nvPr/>
        </p:nvSpPr>
        <p:spPr>
          <a:xfrm>
            <a:off x="132189" y="5667806"/>
            <a:ext cx="12872610" cy="584775"/>
          </a:xfrm>
          <a:prstGeom prst="rect">
            <a:avLst/>
          </a:prstGeom>
          <a:solidFill>
            <a:srgbClr val="92D050"/>
          </a:solidFill>
        </p:spPr>
        <p:txBody>
          <a:bodyPr wrap="square" rtlCol="0">
            <a:spAutoFit/>
          </a:bodyPr>
          <a:lstStyle/>
          <a:p>
            <a:pPr algn="l"/>
            <a:r>
              <a:rPr lang="en-US" sz="3200" dirty="0">
                <a:solidFill>
                  <a:schemeClr val="bg1"/>
                </a:solidFill>
                <a:latin typeface="Leelawadee" pitchFamily="34" charset="-34"/>
                <a:cs typeface="Leelawadee" pitchFamily="34" charset="-34"/>
              </a:rPr>
              <a:t>Always willing to do things outside of their regular responsibilities</a:t>
            </a:r>
          </a:p>
        </p:txBody>
      </p:sp>
      <p:sp>
        <p:nvSpPr>
          <p:cNvPr id="26" name="TextBox 25"/>
          <p:cNvSpPr txBox="1"/>
          <p:nvPr/>
        </p:nvSpPr>
        <p:spPr>
          <a:xfrm>
            <a:off x="2997200" y="457200"/>
            <a:ext cx="7772400" cy="830997"/>
          </a:xfrm>
          <a:prstGeom prst="rect">
            <a:avLst/>
          </a:prstGeom>
          <a:noFill/>
        </p:spPr>
        <p:txBody>
          <a:bodyPr wrap="square" rtlCol="0">
            <a:spAutoFit/>
          </a:bodyPr>
          <a:lstStyle/>
          <a:p>
            <a:r>
              <a:rPr lang="en-US" sz="4800" dirty="0">
                <a:latin typeface="+mn-lt"/>
              </a:rPr>
              <a:t>Examples of Positive Opinions</a:t>
            </a:r>
          </a:p>
        </p:txBody>
      </p:sp>
    </p:spTree>
    <p:custDataLst>
      <p:tags r:id="rId1"/>
    </p:custDataLst>
    <p:extLst>
      <p:ext uri="{BB962C8B-B14F-4D97-AF65-F5344CB8AC3E}">
        <p14:creationId xmlns:p14="http://schemas.microsoft.com/office/powerpoint/2010/main" val="36530328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ipe(left)">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left)">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left)">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wipe(left)">
                                      <p:cBhvr>
                                        <p:cTn id="37" dur="500"/>
                                        <p:tgtEl>
                                          <p:spTgt spid="2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wipe(left)">
                                      <p:cBhvr>
                                        <p:cTn id="47" dur="500"/>
                                        <p:tgtEl>
                                          <p:spTgt spid="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ipe(left)">
                                      <p:cBhvr>
                                        <p:cTn id="52" dur="500"/>
                                        <p:tgtEl>
                                          <p:spTgt spid="23"/>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wipe(left)">
                                      <p:cBhvr>
                                        <p:cTn id="57" dur="500"/>
                                        <p:tgtEl>
                                          <p:spTgt spid="22"/>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wipe(left)">
                                      <p:cBhvr>
                                        <p:cTn id="6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animBg="1"/>
      <p:bldP spid="17" grpId="0" animBg="1"/>
      <p:bldP spid="19" grpId="0" animBg="1"/>
      <p:bldP spid="21" grpId="0" animBg="1"/>
      <p:bldP spid="23" grpId="0" animBg="1"/>
      <p:bldP spid="22" grpId="0" animBg="1"/>
      <p:bldP spid="24" grpId="0" animBg="1"/>
      <p:bldP spid="2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355600" y="-609600"/>
            <a:ext cx="13360400" cy="1625600"/>
          </a:xfrm>
        </p:spPr>
        <p:txBody>
          <a:bodyPr/>
          <a:lstStyle/>
          <a:p>
            <a:br>
              <a:rPr lang="en-US" b="1" dirty="0"/>
            </a:br>
            <a:r>
              <a:rPr lang="en-US" sz="4800" b="1" dirty="0">
                <a:latin typeface="+mn-lt"/>
              </a:rPr>
              <a:t>Positive Feedback Should Include:</a:t>
            </a:r>
            <a:endParaRPr lang="en-US" b="1" dirty="0">
              <a:latin typeface="+mn-lt"/>
            </a:endParaRPr>
          </a:p>
        </p:txBody>
      </p:sp>
      <p:sp>
        <p:nvSpPr>
          <p:cNvPr id="23" name="Slide Number Placeholder 22"/>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5</a:t>
            </a:fld>
            <a:endParaRPr lang="en-US" dirty="0">
              <a:solidFill>
                <a:prstClr val="black"/>
              </a:solidFill>
            </a:endParaRPr>
          </a:p>
        </p:txBody>
      </p:sp>
      <p:sp>
        <p:nvSpPr>
          <p:cNvPr id="20" name="Rounded Rectangular Callout 19"/>
          <p:cNvSpPr/>
          <p:nvPr/>
        </p:nvSpPr>
        <p:spPr>
          <a:xfrm>
            <a:off x="0" y="6400800"/>
            <a:ext cx="4191000" cy="2743199"/>
          </a:xfrm>
          <a:prstGeom prst="wedgeRoundRectCallou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230971" tIns="230971" rIns="230971" bIns="230971" numCol="1" spcCol="1270" anchor="ctr" anchorCtr="0">
            <a:noAutofit/>
          </a:bodyPr>
          <a:lstStyle/>
          <a:p>
            <a:pPr lvl="0" algn="ctr" defTabSz="1377950">
              <a:lnSpc>
                <a:spcPct val="90000"/>
              </a:lnSpc>
              <a:spcBef>
                <a:spcPct val="0"/>
              </a:spcBef>
              <a:spcAft>
                <a:spcPct val="35000"/>
              </a:spcAft>
            </a:pPr>
            <a:r>
              <a:rPr lang="en-US" sz="2800" kern="1200" dirty="0">
                <a:solidFill>
                  <a:schemeClr val="tx1"/>
                </a:solidFill>
                <a:latin typeface="+mn-lt"/>
              </a:rPr>
              <a:t>Name the general positive perception or opinion you have when you think about an individual</a:t>
            </a:r>
            <a:endParaRPr lang="en-US" sz="2800" kern="1200" dirty="0">
              <a:solidFill>
                <a:schemeClr val="tx1"/>
              </a:solidFill>
            </a:endParaRPr>
          </a:p>
        </p:txBody>
      </p:sp>
      <p:sp>
        <p:nvSpPr>
          <p:cNvPr id="22" name="TextBox 21"/>
          <p:cNvSpPr txBox="1"/>
          <p:nvPr/>
        </p:nvSpPr>
        <p:spPr>
          <a:xfrm>
            <a:off x="4749800" y="7162800"/>
            <a:ext cx="3529107" cy="1077218"/>
          </a:xfrm>
          <a:prstGeom prst="rect">
            <a:avLst/>
          </a:prstGeom>
          <a:noFill/>
        </p:spPr>
        <p:txBody>
          <a:bodyPr wrap="none" rtlCol="0">
            <a:spAutoFit/>
          </a:bodyPr>
          <a:lstStyle/>
          <a:p>
            <a:r>
              <a:rPr lang="en-US" sz="3200" dirty="0">
                <a:solidFill>
                  <a:schemeClr val="tx1"/>
                </a:solidFill>
                <a:latin typeface="+mn-lt"/>
              </a:rPr>
              <a:t>Describe a </a:t>
            </a:r>
            <a:br>
              <a:rPr lang="en-US" sz="3200" dirty="0">
                <a:solidFill>
                  <a:schemeClr val="tx1"/>
                </a:solidFill>
                <a:latin typeface="+mn-lt"/>
              </a:rPr>
            </a:br>
            <a:r>
              <a:rPr lang="en-US" sz="3200" dirty="0">
                <a:solidFill>
                  <a:schemeClr val="tx1"/>
                </a:solidFill>
                <a:latin typeface="+mn-lt"/>
              </a:rPr>
              <a:t>Supporting Example</a:t>
            </a:r>
          </a:p>
        </p:txBody>
      </p:sp>
      <p:sp>
        <p:nvSpPr>
          <p:cNvPr id="26" name="Rounded Rectangular Callout 25"/>
          <p:cNvSpPr/>
          <p:nvPr/>
        </p:nvSpPr>
        <p:spPr>
          <a:xfrm>
            <a:off x="8712200" y="6629400"/>
            <a:ext cx="4038600" cy="2561157"/>
          </a:xfrm>
          <a:prstGeom prst="wedgeRoundRectCallou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230971" tIns="230971" rIns="230971" bIns="230971" numCol="1" spcCol="1270" anchor="ctr" anchorCtr="0">
            <a:noAutofit/>
          </a:bodyPr>
          <a:lstStyle/>
          <a:p>
            <a:pPr lvl="0" algn="ctr" defTabSz="1377950">
              <a:lnSpc>
                <a:spcPct val="90000"/>
              </a:lnSpc>
              <a:spcBef>
                <a:spcPct val="0"/>
              </a:spcBef>
              <a:spcAft>
                <a:spcPct val="35000"/>
              </a:spcAft>
            </a:pPr>
            <a:r>
              <a:rPr lang="en-US" sz="2800" dirty="0">
                <a:solidFill>
                  <a:schemeClr val="tx1"/>
                </a:solidFill>
              </a:rPr>
              <a:t>Describe the Positive Impact/Explain How This Reflects Positively on the Individual</a:t>
            </a:r>
            <a:endParaRPr lang="en-US" sz="2800" kern="1200" dirty="0">
              <a:solidFill>
                <a:schemeClr val="tx1"/>
              </a:solidFill>
            </a:endParaRPr>
          </a:p>
        </p:txBody>
      </p:sp>
      <p:sp>
        <p:nvSpPr>
          <p:cNvPr id="5" name="Oval 4">
            <a:extLst>
              <a:ext uri="{FF2B5EF4-FFF2-40B4-BE49-F238E27FC236}">
                <a16:creationId xmlns:a16="http://schemas.microsoft.com/office/drawing/2014/main" id="{39CF5B72-C51E-417F-A66A-9D5FBD7391CA}"/>
              </a:ext>
            </a:extLst>
          </p:cNvPr>
          <p:cNvSpPr/>
          <p:nvPr/>
        </p:nvSpPr>
        <p:spPr bwMode="auto">
          <a:xfrm>
            <a:off x="62006" y="2260600"/>
            <a:ext cx="4343400" cy="4267200"/>
          </a:xfrm>
          <a:prstGeom prst="ellipse">
            <a:avLst/>
          </a:prstGeom>
          <a:solidFill>
            <a:schemeClr val="bg1"/>
          </a:solidFill>
          <a:ln w="25400" cap="flat" cmpd="sng" algn="ctr">
            <a:solidFill>
              <a:srgbClr val="21C5C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Oval 11">
            <a:extLst>
              <a:ext uri="{FF2B5EF4-FFF2-40B4-BE49-F238E27FC236}">
                <a16:creationId xmlns:a16="http://schemas.microsoft.com/office/drawing/2014/main" id="{DB00C4F1-8028-4449-A27A-D79A468EF9F1}"/>
              </a:ext>
            </a:extLst>
          </p:cNvPr>
          <p:cNvSpPr/>
          <p:nvPr/>
        </p:nvSpPr>
        <p:spPr bwMode="auto">
          <a:xfrm>
            <a:off x="4342653" y="2260600"/>
            <a:ext cx="4343400" cy="4267200"/>
          </a:xfrm>
          <a:prstGeom prst="ellipse">
            <a:avLst/>
          </a:prstGeom>
          <a:solidFill>
            <a:schemeClr val="bg1"/>
          </a:solidFill>
          <a:ln w="25400" cap="flat" cmpd="sng" algn="ctr">
            <a:solidFill>
              <a:srgbClr val="82C9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Oval 12">
            <a:extLst>
              <a:ext uri="{FF2B5EF4-FFF2-40B4-BE49-F238E27FC236}">
                <a16:creationId xmlns:a16="http://schemas.microsoft.com/office/drawing/2014/main" id="{67A2C8F9-79F9-432C-93EE-9A031ADBD106}"/>
              </a:ext>
            </a:extLst>
          </p:cNvPr>
          <p:cNvSpPr/>
          <p:nvPr/>
        </p:nvSpPr>
        <p:spPr bwMode="auto">
          <a:xfrm>
            <a:off x="8585200" y="2362200"/>
            <a:ext cx="4343400" cy="4267200"/>
          </a:xfrm>
          <a:prstGeom prst="ellipse">
            <a:avLst/>
          </a:prstGeom>
          <a:solidFill>
            <a:schemeClr val="bg1"/>
          </a:solidFill>
          <a:ln w="25400" cap="flat" cmpd="sng" algn="ctr">
            <a:solidFill>
              <a:srgbClr val="F7980B"/>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a:extLst>
              <a:ext uri="{FF2B5EF4-FFF2-40B4-BE49-F238E27FC236}">
                <a16:creationId xmlns:a16="http://schemas.microsoft.com/office/drawing/2014/main" id="{D327F748-25B8-41CB-ABC3-D7147133D00A}"/>
              </a:ext>
            </a:extLst>
          </p:cNvPr>
          <p:cNvSpPr txBox="1"/>
          <p:nvPr/>
        </p:nvSpPr>
        <p:spPr>
          <a:xfrm>
            <a:off x="711200" y="3352800"/>
            <a:ext cx="3148106" cy="1446550"/>
          </a:xfrm>
          <a:prstGeom prst="rect">
            <a:avLst/>
          </a:prstGeom>
          <a:noFill/>
        </p:spPr>
        <p:txBody>
          <a:bodyPr wrap="square" rtlCol="0">
            <a:spAutoFit/>
          </a:bodyPr>
          <a:lstStyle/>
          <a:p>
            <a:r>
              <a:rPr lang="en-US" sz="4400" b="1" dirty="0">
                <a:solidFill>
                  <a:srgbClr val="21C5CF"/>
                </a:solidFill>
              </a:rPr>
              <a:t>Positive Perception</a:t>
            </a:r>
          </a:p>
        </p:txBody>
      </p:sp>
      <p:sp>
        <p:nvSpPr>
          <p:cNvPr id="16" name="TextBox 15">
            <a:extLst>
              <a:ext uri="{FF2B5EF4-FFF2-40B4-BE49-F238E27FC236}">
                <a16:creationId xmlns:a16="http://schemas.microsoft.com/office/drawing/2014/main" id="{9D3F5A61-833A-4E69-BAEB-8EF920290447}"/>
              </a:ext>
            </a:extLst>
          </p:cNvPr>
          <p:cNvSpPr txBox="1"/>
          <p:nvPr/>
        </p:nvSpPr>
        <p:spPr>
          <a:xfrm>
            <a:off x="4895850" y="3352800"/>
            <a:ext cx="3148106" cy="1446550"/>
          </a:xfrm>
          <a:prstGeom prst="rect">
            <a:avLst/>
          </a:prstGeom>
          <a:noFill/>
        </p:spPr>
        <p:txBody>
          <a:bodyPr wrap="square" rtlCol="0">
            <a:spAutoFit/>
          </a:bodyPr>
          <a:lstStyle/>
          <a:p>
            <a:r>
              <a:rPr lang="en-US" sz="4400" b="1" dirty="0">
                <a:solidFill>
                  <a:srgbClr val="82C950"/>
                </a:solidFill>
              </a:rPr>
              <a:t>A Specific Example</a:t>
            </a:r>
          </a:p>
        </p:txBody>
      </p:sp>
      <p:sp>
        <p:nvSpPr>
          <p:cNvPr id="17" name="TextBox 16">
            <a:extLst>
              <a:ext uri="{FF2B5EF4-FFF2-40B4-BE49-F238E27FC236}">
                <a16:creationId xmlns:a16="http://schemas.microsoft.com/office/drawing/2014/main" id="{BE605CD0-2E48-4258-AAA6-F1AA6FE79160}"/>
              </a:ext>
            </a:extLst>
          </p:cNvPr>
          <p:cNvSpPr txBox="1"/>
          <p:nvPr/>
        </p:nvSpPr>
        <p:spPr>
          <a:xfrm>
            <a:off x="9290050" y="3430250"/>
            <a:ext cx="3148106" cy="1446550"/>
          </a:xfrm>
          <a:prstGeom prst="rect">
            <a:avLst/>
          </a:prstGeom>
          <a:noFill/>
        </p:spPr>
        <p:txBody>
          <a:bodyPr wrap="square" rtlCol="0">
            <a:spAutoFit/>
          </a:bodyPr>
          <a:lstStyle/>
          <a:p>
            <a:r>
              <a:rPr lang="en-US" sz="4400" b="1" dirty="0">
                <a:solidFill>
                  <a:srgbClr val="F7980B"/>
                </a:solidFill>
              </a:rPr>
              <a:t>The Positive Impact</a:t>
            </a:r>
          </a:p>
        </p:txBody>
      </p:sp>
    </p:spTree>
    <p:custDataLst>
      <p:tags r:id="rId1"/>
    </p:custDataLst>
    <p:extLst>
      <p:ext uri="{BB962C8B-B14F-4D97-AF65-F5344CB8AC3E}">
        <p14:creationId xmlns:p14="http://schemas.microsoft.com/office/powerpoint/2010/main" val="532998266"/>
      </p:ext>
    </p:extLst>
  </p:cSld>
  <p:clrMapOvr>
    <a:masterClrMapping/>
  </p:clrMapOvr>
  <p:transition spd="slow">
    <p:cover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355600" y="-609600"/>
            <a:ext cx="13360400" cy="1625600"/>
          </a:xfrm>
        </p:spPr>
        <p:txBody>
          <a:bodyPr/>
          <a:lstStyle/>
          <a:p>
            <a:br>
              <a:rPr lang="en-US" b="1" dirty="0"/>
            </a:br>
            <a:r>
              <a:rPr lang="en-US" sz="4800" b="1" dirty="0">
                <a:latin typeface="+mn-lt"/>
              </a:rPr>
              <a:t>Positive Feedback Example</a:t>
            </a:r>
            <a:endParaRPr lang="en-US" b="1" dirty="0">
              <a:latin typeface="+mn-lt"/>
            </a:endParaRPr>
          </a:p>
        </p:txBody>
      </p:sp>
      <p:sp>
        <p:nvSpPr>
          <p:cNvPr id="23" name="Slide Number Placeholder 22"/>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6</a:t>
            </a:fld>
            <a:endParaRPr lang="en-US" dirty="0">
              <a:solidFill>
                <a:prstClr val="black"/>
              </a:solidFill>
            </a:endParaRPr>
          </a:p>
        </p:txBody>
      </p:sp>
      <p:sp>
        <p:nvSpPr>
          <p:cNvPr id="5" name="Oval 4">
            <a:extLst>
              <a:ext uri="{FF2B5EF4-FFF2-40B4-BE49-F238E27FC236}">
                <a16:creationId xmlns:a16="http://schemas.microsoft.com/office/drawing/2014/main" id="{39CF5B72-C51E-417F-A66A-9D5FBD7391CA}"/>
              </a:ext>
            </a:extLst>
          </p:cNvPr>
          <p:cNvSpPr/>
          <p:nvPr/>
        </p:nvSpPr>
        <p:spPr bwMode="auto">
          <a:xfrm>
            <a:off x="62006" y="2260600"/>
            <a:ext cx="4343400" cy="4267200"/>
          </a:xfrm>
          <a:prstGeom prst="ellipse">
            <a:avLst/>
          </a:prstGeom>
          <a:solidFill>
            <a:schemeClr val="bg1"/>
          </a:solidFill>
          <a:ln w="25400" cap="flat" cmpd="sng" algn="ctr">
            <a:solidFill>
              <a:srgbClr val="21C5C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Oval 11">
            <a:extLst>
              <a:ext uri="{FF2B5EF4-FFF2-40B4-BE49-F238E27FC236}">
                <a16:creationId xmlns:a16="http://schemas.microsoft.com/office/drawing/2014/main" id="{DB00C4F1-8028-4449-A27A-D79A468EF9F1}"/>
              </a:ext>
            </a:extLst>
          </p:cNvPr>
          <p:cNvSpPr/>
          <p:nvPr/>
        </p:nvSpPr>
        <p:spPr bwMode="auto">
          <a:xfrm>
            <a:off x="4342653" y="2260600"/>
            <a:ext cx="4343400" cy="4267200"/>
          </a:xfrm>
          <a:prstGeom prst="ellipse">
            <a:avLst/>
          </a:prstGeom>
          <a:solidFill>
            <a:schemeClr val="bg1"/>
          </a:solidFill>
          <a:ln w="25400" cap="flat" cmpd="sng" algn="ctr">
            <a:solidFill>
              <a:srgbClr val="82C9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Oval 12">
            <a:extLst>
              <a:ext uri="{FF2B5EF4-FFF2-40B4-BE49-F238E27FC236}">
                <a16:creationId xmlns:a16="http://schemas.microsoft.com/office/drawing/2014/main" id="{67A2C8F9-79F9-432C-93EE-9A031ADBD106}"/>
              </a:ext>
            </a:extLst>
          </p:cNvPr>
          <p:cNvSpPr/>
          <p:nvPr/>
        </p:nvSpPr>
        <p:spPr bwMode="auto">
          <a:xfrm>
            <a:off x="8585200" y="2362200"/>
            <a:ext cx="4343400" cy="4267200"/>
          </a:xfrm>
          <a:prstGeom prst="ellipse">
            <a:avLst/>
          </a:prstGeom>
          <a:solidFill>
            <a:schemeClr val="bg1"/>
          </a:solidFill>
          <a:ln w="25400" cap="flat" cmpd="sng" algn="ctr">
            <a:solidFill>
              <a:srgbClr val="F7980B"/>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 Box 7">
            <a:extLst>
              <a:ext uri="{FF2B5EF4-FFF2-40B4-BE49-F238E27FC236}">
                <a16:creationId xmlns:a16="http://schemas.microsoft.com/office/drawing/2014/main" id="{B2CEB55E-A369-4E7B-A4EE-8C2AFBC76DF7}"/>
              </a:ext>
            </a:extLst>
          </p:cNvPr>
          <p:cNvSpPr txBox="1">
            <a:spLocks noChangeArrowheads="1"/>
          </p:cNvSpPr>
          <p:nvPr/>
        </p:nvSpPr>
        <p:spPr bwMode="auto">
          <a:xfrm>
            <a:off x="811680" y="3597789"/>
            <a:ext cx="2819400" cy="3031611"/>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3200" b="1" dirty="0">
                <a:solidFill>
                  <a:schemeClr val="tx1"/>
                </a:solidFill>
                <a:latin typeface="+mn-lt"/>
                <a:cs typeface="Leelawadee" panose="020B0502040204020203" pitchFamily="34" charset="-34"/>
              </a:rPr>
              <a:t>Readily pitches in where and when needed</a:t>
            </a:r>
            <a:endParaRPr lang="en-US" sz="3600" b="1" dirty="0">
              <a:solidFill>
                <a:schemeClr val="tx1"/>
              </a:solidFill>
              <a:latin typeface="+mn-lt"/>
              <a:cs typeface="Leelawadee" panose="020B0502040204020203" pitchFamily="34" charset="-34"/>
            </a:endParaRPr>
          </a:p>
        </p:txBody>
      </p:sp>
      <p:sp>
        <p:nvSpPr>
          <p:cNvPr id="11" name="Text Box 7">
            <a:extLst>
              <a:ext uri="{FF2B5EF4-FFF2-40B4-BE49-F238E27FC236}">
                <a16:creationId xmlns:a16="http://schemas.microsoft.com/office/drawing/2014/main" id="{DE377416-9D5A-44CD-8750-657FD3AC6946}"/>
              </a:ext>
            </a:extLst>
          </p:cNvPr>
          <p:cNvSpPr txBox="1">
            <a:spLocks noChangeArrowheads="1"/>
          </p:cNvSpPr>
          <p:nvPr/>
        </p:nvSpPr>
        <p:spPr bwMode="auto">
          <a:xfrm>
            <a:off x="4876763" y="3360994"/>
            <a:ext cx="3350632" cy="3031611"/>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2800" b="1" dirty="0">
                <a:solidFill>
                  <a:schemeClr val="tx1"/>
                </a:solidFill>
                <a:latin typeface="+mn-lt"/>
                <a:cs typeface="Leelawadee" panose="020B0502040204020203" pitchFamily="34" charset="-34"/>
              </a:rPr>
              <a:t>Took the initiative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to fix “bad code”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on a vendor’s software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component. </a:t>
            </a:r>
          </a:p>
        </p:txBody>
      </p:sp>
      <p:sp>
        <p:nvSpPr>
          <p:cNvPr id="14" name="Text Box 7">
            <a:extLst>
              <a:ext uri="{FF2B5EF4-FFF2-40B4-BE49-F238E27FC236}">
                <a16:creationId xmlns:a16="http://schemas.microsoft.com/office/drawing/2014/main" id="{FA8610E1-6CDD-4E53-8C71-FD9DBF7F834E}"/>
              </a:ext>
            </a:extLst>
          </p:cNvPr>
          <p:cNvSpPr txBox="1">
            <a:spLocks noChangeArrowheads="1"/>
          </p:cNvSpPr>
          <p:nvPr/>
        </p:nvSpPr>
        <p:spPr bwMode="auto">
          <a:xfrm>
            <a:off x="9333042" y="3276600"/>
            <a:ext cx="3124200" cy="3031611"/>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2800" b="1" dirty="0">
                <a:solidFill>
                  <a:schemeClr val="tx1"/>
                </a:solidFill>
                <a:latin typeface="+mn-lt"/>
                <a:cs typeface="Leelawadee" panose="020B0502040204020203" pitchFamily="34" charset="-34"/>
              </a:rPr>
              <a:t>Returning the component would have created a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2-day delay.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Instead we were </a:t>
            </a:r>
            <a:br>
              <a:rPr lang="en-US" sz="2800" b="1" dirty="0">
                <a:solidFill>
                  <a:schemeClr val="tx1"/>
                </a:solidFill>
                <a:latin typeface="+mn-lt"/>
                <a:cs typeface="Leelawadee" panose="020B0502040204020203" pitchFamily="34" charset="-34"/>
              </a:rPr>
            </a:br>
            <a:r>
              <a:rPr lang="en-US" sz="2800" b="1" dirty="0">
                <a:solidFill>
                  <a:schemeClr val="tx1"/>
                </a:solidFill>
                <a:latin typeface="+mn-lt"/>
                <a:cs typeface="Leelawadee" panose="020B0502040204020203" pitchFamily="34" charset="-34"/>
              </a:rPr>
              <a:t>2-days early.</a:t>
            </a:r>
          </a:p>
        </p:txBody>
      </p:sp>
      <p:sp>
        <p:nvSpPr>
          <p:cNvPr id="15" name="TextBox 14">
            <a:extLst>
              <a:ext uri="{FF2B5EF4-FFF2-40B4-BE49-F238E27FC236}">
                <a16:creationId xmlns:a16="http://schemas.microsoft.com/office/drawing/2014/main" id="{32DD7F29-5340-48B3-8D07-B6B12B4DE91E}"/>
              </a:ext>
            </a:extLst>
          </p:cNvPr>
          <p:cNvSpPr txBox="1"/>
          <p:nvPr/>
        </p:nvSpPr>
        <p:spPr>
          <a:xfrm>
            <a:off x="581889" y="6695182"/>
            <a:ext cx="3454407" cy="584775"/>
          </a:xfrm>
          <a:prstGeom prst="rect">
            <a:avLst/>
          </a:prstGeom>
          <a:noFill/>
        </p:spPr>
        <p:txBody>
          <a:bodyPr wrap="none" rtlCol="0">
            <a:spAutoFit/>
          </a:bodyPr>
          <a:lstStyle/>
          <a:p>
            <a:r>
              <a:rPr lang="en-US" sz="3200" b="1" dirty="0">
                <a:solidFill>
                  <a:schemeClr val="tx1">
                    <a:lumMod val="50000"/>
                    <a:lumOff val="50000"/>
                  </a:schemeClr>
                </a:solidFill>
                <a:latin typeface="+mn-lt"/>
              </a:rPr>
              <a:t>Positive Perception</a:t>
            </a:r>
          </a:p>
        </p:txBody>
      </p:sp>
      <p:sp>
        <p:nvSpPr>
          <p:cNvPr id="16" name="TextBox 15">
            <a:extLst>
              <a:ext uri="{FF2B5EF4-FFF2-40B4-BE49-F238E27FC236}">
                <a16:creationId xmlns:a16="http://schemas.microsoft.com/office/drawing/2014/main" id="{1F7F1EBE-99FD-482C-A255-FA36A7E1D975}"/>
              </a:ext>
            </a:extLst>
          </p:cNvPr>
          <p:cNvSpPr txBox="1"/>
          <p:nvPr/>
        </p:nvSpPr>
        <p:spPr>
          <a:xfrm>
            <a:off x="5176832" y="6771382"/>
            <a:ext cx="3018775" cy="584775"/>
          </a:xfrm>
          <a:prstGeom prst="rect">
            <a:avLst/>
          </a:prstGeom>
          <a:noFill/>
        </p:spPr>
        <p:txBody>
          <a:bodyPr wrap="none" rtlCol="0">
            <a:spAutoFit/>
          </a:bodyPr>
          <a:lstStyle/>
          <a:p>
            <a:r>
              <a:rPr lang="en-US" sz="3200" b="1" dirty="0">
                <a:solidFill>
                  <a:schemeClr val="tx1">
                    <a:lumMod val="50000"/>
                    <a:lumOff val="50000"/>
                  </a:schemeClr>
                </a:solidFill>
                <a:latin typeface="+mn-lt"/>
              </a:rPr>
              <a:t>Specific Example</a:t>
            </a:r>
          </a:p>
        </p:txBody>
      </p:sp>
      <p:sp>
        <p:nvSpPr>
          <p:cNvPr id="17" name="TextBox 16">
            <a:extLst>
              <a:ext uri="{FF2B5EF4-FFF2-40B4-BE49-F238E27FC236}">
                <a16:creationId xmlns:a16="http://schemas.microsoft.com/office/drawing/2014/main" id="{EDFEF48C-E656-4ACF-8D4C-F2E4E55B773B}"/>
              </a:ext>
            </a:extLst>
          </p:cNvPr>
          <p:cNvSpPr txBox="1"/>
          <p:nvPr/>
        </p:nvSpPr>
        <p:spPr>
          <a:xfrm>
            <a:off x="9441210" y="6771382"/>
            <a:ext cx="2793586" cy="584775"/>
          </a:xfrm>
          <a:prstGeom prst="rect">
            <a:avLst/>
          </a:prstGeom>
          <a:noFill/>
        </p:spPr>
        <p:txBody>
          <a:bodyPr wrap="none" rtlCol="0">
            <a:spAutoFit/>
          </a:bodyPr>
          <a:lstStyle/>
          <a:p>
            <a:r>
              <a:rPr lang="en-US" sz="3200" b="1" dirty="0">
                <a:solidFill>
                  <a:schemeClr val="tx1">
                    <a:lumMod val="50000"/>
                    <a:lumOff val="50000"/>
                  </a:schemeClr>
                </a:solidFill>
                <a:latin typeface="+mn-lt"/>
              </a:rPr>
              <a:t>Positive Impact</a:t>
            </a:r>
          </a:p>
        </p:txBody>
      </p:sp>
    </p:spTree>
    <p:custDataLst>
      <p:tags r:id="rId1"/>
    </p:custDataLst>
    <p:extLst>
      <p:ext uri="{BB962C8B-B14F-4D97-AF65-F5344CB8AC3E}">
        <p14:creationId xmlns:p14="http://schemas.microsoft.com/office/powerpoint/2010/main" val="815088889"/>
      </p:ext>
    </p:extLst>
  </p:cSld>
  <p:clrMapOvr>
    <a:masterClrMapping/>
  </p:clrMapOvr>
  <p:transition spd="slow">
    <p:cover dir="u"/>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779000" y="0"/>
            <a:ext cx="3225800" cy="7467600"/>
          </a:xfrm>
          <a:prstGeom prst="rect">
            <a:avLst/>
          </a:prstGeom>
          <a:solidFill>
            <a:srgbClr val="00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TextBox 8"/>
          <p:cNvSpPr txBox="1"/>
          <p:nvPr/>
        </p:nvSpPr>
        <p:spPr>
          <a:xfrm>
            <a:off x="9702800" y="533400"/>
            <a:ext cx="3302000" cy="5386090"/>
          </a:xfrm>
          <a:prstGeom prst="rect">
            <a:avLst/>
          </a:prstGeom>
          <a:noFill/>
        </p:spPr>
        <p:txBody>
          <a:bodyPr wrap="square" rtlCol="0">
            <a:spAutoFit/>
          </a:bodyPr>
          <a:lstStyle/>
          <a:p>
            <a:r>
              <a:rPr lang="en-US" sz="4000" b="1" dirty="0">
                <a:solidFill>
                  <a:schemeClr val="bg1"/>
                </a:solidFill>
                <a:latin typeface="Arial" panose="020B0604020202020204" pitchFamily="34" charset="0"/>
                <a:ea typeface="Adobe Fan Heiti Std B" pitchFamily="34" charset="-128"/>
                <a:cs typeface="Arial" panose="020B0604020202020204" pitchFamily="34" charset="0"/>
              </a:rPr>
              <a:t>Positive Feedback </a:t>
            </a:r>
            <a:br>
              <a:rPr lang="en-US" sz="3200" b="1" dirty="0">
                <a:solidFill>
                  <a:schemeClr val="bg1"/>
                </a:solidFill>
                <a:latin typeface="Arial" panose="020B0604020202020204" pitchFamily="34" charset="0"/>
                <a:ea typeface="Adobe Fan Heiti Std B" pitchFamily="34" charset="-128"/>
                <a:cs typeface="Arial" panose="020B0604020202020204" pitchFamily="34" charset="0"/>
              </a:rPr>
            </a:br>
            <a:r>
              <a:rPr lang="en-US" sz="3200" dirty="0">
                <a:solidFill>
                  <a:schemeClr val="bg1"/>
                </a:solidFill>
                <a:latin typeface="Arial" panose="020B0604020202020204" pitchFamily="34" charset="0"/>
                <a:ea typeface="Adobe Fan Heiti Std B" pitchFamily="34" charset="-128"/>
                <a:cs typeface="Arial" panose="020B0604020202020204" pitchFamily="34" charset="0"/>
              </a:rPr>
              <a:t>Exercise</a:t>
            </a:r>
            <a:r>
              <a:rPr lang="en-US" sz="3600" dirty="0">
                <a:solidFill>
                  <a:schemeClr val="bg1"/>
                </a:solidFill>
                <a:latin typeface="Arial" panose="020B0604020202020204" pitchFamily="34" charset="0"/>
                <a:ea typeface="Adobe Fan Heiti Std B" pitchFamily="34" charset="-128"/>
                <a:cs typeface="Arial" panose="020B0604020202020204" pitchFamily="34" charset="0"/>
              </a:rPr>
              <a:t> </a:t>
            </a:r>
          </a:p>
          <a:p>
            <a:endParaRPr lang="en-US" sz="3600" dirty="0">
              <a:solidFill>
                <a:srgbClr val="FFC000"/>
              </a:solidFill>
              <a:latin typeface="Arial" panose="020B0604020202020204" pitchFamily="34" charset="0"/>
              <a:cs typeface="Arial" panose="020B0604020202020204" pitchFamily="34" charset="0"/>
            </a:endParaRPr>
          </a:p>
          <a:p>
            <a:endParaRPr lang="en-US" sz="3200" b="1" dirty="0">
              <a:solidFill>
                <a:schemeClr val="bg1"/>
              </a:solidFill>
              <a:latin typeface="Arial" panose="020B0604020202020204" pitchFamily="34" charset="0"/>
              <a:cs typeface="Arial" panose="020B0604020202020204" pitchFamily="34" charset="0"/>
            </a:endParaRPr>
          </a:p>
          <a:p>
            <a:endParaRPr lang="en-US" sz="3200" b="1" dirty="0">
              <a:solidFill>
                <a:schemeClr val="bg1"/>
              </a:solidFill>
              <a:latin typeface="Arial" panose="020B0604020202020204" pitchFamily="34" charset="0"/>
              <a:cs typeface="Arial" panose="020B0604020202020204" pitchFamily="34"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15" name="Title 14"/>
          <p:cNvSpPr>
            <a:spLocks noGrp="1"/>
          </p:cNvSpPr>
          <p:nvPr>
            <p:ph type="title"/>
          </p:nvPr>
        </p:nvSpPr>
        <p:spPr>
          <a:xfrm>
            <a:off x="177800" y="0"/>
            <a:ext cx="8915400" cy="1819275"/>
          </a:xfrm>
        </p:spPr>
        <p:txBody>
          <a:bodyPr/>
          <a:lstStyle/>
          <a:p>
            <a:pPr algn="l"/>
            <a:r>
              <a:rPr lang="en-US" sz="4800" b="1" dirty="0">
                <a:solidFill>
                  <a:srgbClr val="009999"/>
                </a:solidFill>
                <a:ea typeface="Adobe Fan Heiti Std B" pitchFamily="34" charset="-128"/>
              </a:rPr>
              <a:t>Steps</a:t>
            </a:r>
            <a:br>
              <a:rPr lang="en-US" sz="2800" b="1" dirty="0">
                <a:latin typeface="Adobe Fan Heiti Std B" pitchFamily="34" charset="-128"/>
                <a:ea typeface="Adobe Fan Heiti Std B" pitchFamily="34" charset="-128"/>
              </a:rPr>
            </a:br>
            <a:r>
              <a:rPr lang="en-US" sz="2800" b="1" dirty="0">
                <a:latin typeface="Calibri" pitchFamily="34" charset="0"/>
                <a:ea typeface="Adobe Fan Heiti Std B" pitchFamily="34" charset="-128"/>
              </a:rPr>
              <a:t>1.  Think of someone that you work with who you have positive feedback for (peer, direct report, internal customer, your manager, etc.) </a:t>
            </a:r>
            <a:br>
              <a:rPr lang="en-US" sz="2800" b="1" dirty="0">
                <a:latin typeface="Calibri" pitchFamily="34" charset="0"/>
                <a:ea typeface="Adobe Fan Heiti Std B" pitchFamily="34" charset="-128"/>
              </a:rPr>
            </a:br>
            <a:br>
              <a:rPr lang="en-US" sz="2800" b="1" dirty="0">
                <a:latin typeface="Calibri" pitchFamily="34" charset="0"/>
                <a:ea typeface="Adobe Fan Heiti Std B" pitchFamily="34" charset="-128"/>
              </a:rPr>
            </a:br>
            <a:r>
              <a:rPr lang="en-US" sz="2800" b="1" dirty="0">
                <a:latin typeface="Calibri" pitchFamily="34" charset="0"/>
                <a:ea typeface="Adobe Fan Heiti Std B" pitchFamily="34" charset="-128"/>
              </a:rPr>
              <a:t>2. Follow the steps in the workbook </a:t>
            </a:r>
          </a:p>
        </p:txBody>
      </p:sp>
      <p:sp>
        <p:nvSpPr>
          <p:cNvPr id="26" name="TextBox 25"/>
          <p:cNvSpPr txBox="1"/>
          <p:nvPr/>
        </p:nvSpPr>
        <p:spPr>
          <a:xfrm>
            <a:off x="-4089400" y="0"/>
            <a:ext cx="3505200" cy="984885"/>
          </a:xfrm>
          <a:prstGeom prst="rect">
            <a:avLst/>
          </a:prstGeom>
          <a:noFill/>
        </p:spPr>
        <p:txBody>
          <a:bodyPr wrap="square" rtlCol="0">
            <a:spAutoFit/>
          </a:bodyPr>
          <a:lstStyle/>
          <a:p>
            <a:endParaRPr lang="en-US" dirty="0"/>
          </a:p>
        </p:txBody>
      </p:sp>
      <p:sp>
        <p:nvSpPr>
          <p:cNvPr id="18" name="Slide Number Placeholder 17"/>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57</a:t>
            </a:fld>
            <a:endParaRPr lang="en-US" dirty="0">
              <a:solidFill>
                <a:prstClr val="black"/>
              </a:solidFill>
            </a:endParaRPr>
          </a:p>
        </p:txBody>
      </p:sp>
      <p:sp>
        <p:nvSpPr>
          <p:cNvPr id="20" name="Rectangle 19"/>
          <p:cNvSpPr/>
          <p:nvPr/>
        </p:nvSpPr>
        <p:spPr>
          <a:xfrm>
            <a:off x="-127000" y="9339590"/>
            <a:ext cx="7162800" cy="261610"/>
          </a:xfrm>
          <a:prstGeom prst="rect">
            <a:avLst/>
          </a:prstGeom>
        </p:spPr>
        <p:txBody>
          <a:bodyPr wrap="square">
            <a:spAutoFit/>
          </a:bodyPr>
          <a:lstStyle/>
          <a:p>
            <a:r>
              <a:rPr lang="en-US" sz="1100" dirty="0">
                <a:latin typeface="Arial" pitchFamily="34" charset="0"/>
                <a:cs typeface="Arial" pitchFamily="34" charset="0"/>
              </a:rPr>
              <a:t>©2017 Employee Performance Solutions, LLC  All Rights Reserved | Licensing for Use Within the Client</a:t>
            </a:r>
          </a:p>
        </p:txBody>
      </p:sp>
      <p:grpSp>
        <p:nvGrpSpPr>
          <p:cNvPr id="10" name="Group 9"/>
          <p:cNvGrpSpPr/>
          <p:nvPr/>
        </p:nvGrpSpPr>
        <p:grpSpPr>
          <a:xfrm>
            <a:off x="9855200" y="8110330"/>
            <a:ext cx="2895600" cy="728870"/>
            <a:chOff x="10083800" y="9100930"/>
            <a:chExt cx="2895600" cy="728870"/>
          </a:xfrm>
        </p:grpSpPr>
        <p:sp>
          <p:nvSpPr>
            <p:cNvPr id="11" name="Text Box 4"/>
            <p:cNvSpPr txBox="1">
              <a:spLocks noChangeArrowheads="1"/>
            </p:cNvSpPr>
            <p:nvPr/>
          </p:nvSpPr>
          <p:spPr bwMode="auto">
            <a:xfrm>
              <a:off x="10315400" y="92301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3-Minutes</a:t>
              </a:r>
            </a:p>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tx1"/>
                  </a:solidFill>
                  <a:latin typeface="Calibri" pitchFamily="34" charset="0"/>
                  <a:cs typeface="Arial" pitchFamily="34" charset="0"/>
                </a:rPr>
                <a:t>Page 17 </a:t>
              </a:r>
              <a:r>
                <a:rPr lang="en-US" sz="2800" b="1" dirty="0">
                  <a:solidFill>
                    <a:schemeClr val="bg1"/>
                  </a:solidFill>
                  <a:latin typeface="Calibri" pitchFamily="34" charset="0"/>
                  <a:cs typeface="Arial" pitchFamily="34" charset="0"/>
                </a:rPr>
                <a:t>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12" name="Picture 3" descr="Image result for clock icon"/>
            <p:cNvPicPr>
              <a:picLocks noChangeAspect="1" noChangeArrowheads="1"/>
            </p:cNvPicPr>
            <p:nvPr/>
          </p:nvPicPr>
          <p:blipFill>
            <a:blip r:embed="rId4"/>
            <a:srcRect/>
            <a:stretch>
              <a:fillRect/>
            </a:stretch>
          </p:blipFill>
          <p:spPr bwMode="auto">
            <a:xfrm>
              <a:off x="10083800" y="9100930"/>
              <a:ext cx="732600" cy="728870"/>
            </a:xfrm>
            <a:prstGeom prst="rect">
              <a:avLst/>
            </a:prstGeom>
            <a:solidFill>
              <a:srgbClr val="74B230"/>
            </a:solidFill>
            <a:ln w="9525" algn="in">
              <a:noFill/>
              <a:miter lim="800000"/>
              <a:headEnd/>
              <a:tailEnd/>
            </a:ln>
          </p:spPr>
        </p:pic>
      </p:grpSp>
      <p:pic>
        <p:nvPicPr>
          <p:cNvPr id="2" name="Picture 1">
            <a:extLst>
              <a:ext uri="{FF2B5EF4-FFF2-40B4-BE49-F238E27FC236}">
                <a16:creationId xmlns:a16="http://schemas.microsoft.com/office/drawing/2014/main" id="{EF3C890C-102F-437E-A97C-7FE1AB85BF9F}"/>
              </a:ext>
            </a:extLst>
          </p:cNvPr>
          <p:cNvPicPr>
            <a:picLocks noChangeAspect="1"/>
          </p:cNvPicPr>
          <p:nvPr/>
        </p:nvPicPr>
        <p:blipFill>
          <a:blip r:embed="rId5"/>
          <a:stretch>
            <a:fillRect/>
          </a:stretch>
        </p:blipFill>
        <p:spPr>
          <a:xfrm>
            <a:off x="2494725" y="3124200"/>
            <a:ext cx="5019675" cy="5843283"/>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216669945"/>
      </p:ext>
    </p:extLst>
  </p:cSld>
  <p:clrMapOvr>
    <a:masterClrMapping/>
  </p:clrMapOvr>
  <p:transition spd="slow">
    <p:random/>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xfrm>
            <a:off x="0" y="3581402"/>
            <a:ext cx="13004800" cy="1219198"/>
          </a:xfrm>
          <a:solidFill>
            <a:schemeClr val="tx1"/>
          </a:solidFill>
        </p:spPr>
        <p:txBody>
          <a:bodyPr/>
          <a:lstStyle/>
          <a:p>
            <a:r>
              <a:rPr lang="en-US" sz="6000" dirty="0"/>
              <a:t>Share Your Example</a:t>
            </a:r>
          </a:p>
        </p:txBody>
      </p:sp>
      <p:pic>
        <p:nvPicPr>
          <p:cNvPr id="726018" name="Picture 2"/>
          <p:cNvPicPr>
            <a:picLocks noChangeAspect="1" noChangeArrowheads="1"/>
          </p:cNvPicPr>
          <p:nvPr/>
        </p:nvPicPr>
        <p:blipFill>
          <a:blip r:embed="rId4"/>
          <a:srcRect/>
          <a:stretch>
            <a:fillRect/>
          </a:stretch>
        </p:blipFill>
        <p:spPr bwMode="auto">
          <a:xfrm>
            <a:off x="4521200" y="5867400"/>
            <a:ext cx="3886200" cy="3886200"/>
          </a:xfrm>
          <a:prstGeom prst="rect">
            <a:avLst/>
          </a:prstGeom>
          <a:noFill/>
          <a:ln w="9525" algn="in">
            <a:noFill/>
            <a:miter lim="800000"/>
            <a:headEnd/>
            <a:tailEnd/>
          </a:ln>
          <a:effectLst/>
        </p:spPr>
      </p:pic>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8</a:t>
            </a:fld>
            <a:endParaRPr lang="en-US" dirty="0">
              <a:solidFill>
                <a:prstClr val="black"/>
              </a:solidFill>
            </a:endParaRPr>
          </a:p>
        </p:txBody>
      </p:sp>
    </p:spTree>
    <p:custDataLst>
      <p:tags r:id="rId1"/>
    </p:custDataLst>
    <p:extLst>
      <p:ext uri="{BB962C8B-B14F-4D97-AF65-F5344CB8AC3E}">
        <p14:creationId xmlns:p14="http://schemas.microsoft.com/office/powerpoint/2010/main" val="3638871794"/>
      </p:ext>
    </p:extLst>
  </p:cSld>
  <p:clrMapOvr>
    <a:masterClrMapping/>
  </p:clrMapOvr>
  <p:transition spd="slow">
    <p:cover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59</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
        <p:nvSpPr>
          <p:cNvPr id="6" name="Text Box 2"/>
          <p:cNvSpPr txBox="1">
            <a:spLocks noChangeArrowheads="1"/>
          </p:cNvSpPr>
          <p:nvPr/>
        </p:nvSpPr>
        <p:spPr bwMode="auto">
          <a:xfrm>
            <a:off x="787400" y="5562600"/>
            <a:ext cx="10972800" cy="22860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912813" indent="-571500"/>
            <a:r>
              <a:rPr lang="en-US" sz="4800" b="1" dirty="0">
                <a:solidFill>
                  <a:srgbClr val="4D4D4F"/>
                </a:solidFill>
                <a:latin typeface="+mn-lt"/>
                <a:cs typeface="Arial" pitchFamily="34" charset="0"/>
              </a:rPr>
              <a:t>5 and 10-Minute Question Peer and Manager Conversations</a:t>
            </a:r>
            <a:br>
              <a:rPr lang="en-US" sz="4800" b="1" dirty="0">
                <a:solidFill>
                  <a:srgbClr val="4D4D4F"/>
                </a:solidFill>
                <a:latin typeface="+mn-lt"/>
                <a:cs typeface="Arial" pitchFamily="34" charset="0"/>
              </a:rPr>
            </a:br>
            <a:r>
              <a:rPr lang="en-US" sz="3200" b="1" dirty="0">
                <a:latin typeface="+mj-lt"/>
              </a:rPr>
              <a:t> Engage in two-way dialogue with peers and managers </a:t>
            </a:r>
            <a:br>
              <a:rPr lang="en-US" sz="3200" b="1" dirty="0">
                <a:latin typeface="+mj-lt"/>
              </a:rPr>
            </a:br>
            <a:r>
              <a:rPr lang="en-US" sz="3200" b="1" dirty="0">
                <a:latin typeface="+mj-lt"/>
              </a:rPr>
              <a:t>to comfortably give and receive feedback.</a:t>
            </a:r>
          </a:p>
          <a:p>
            <a:endParaRPr lang="en-US" sz="2400" dirty="0">
              <a:latin typeface="+mn-lt"/>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 name="Line 3"/>
          <p:cNvSpPr>
            <a:spLocks noChangeShapeType="1"/>
          </p:cNvSpPr>
          <p:nvPr/>
        </p:nvSpPr>
        <p:spPr bwMode="auto">
          <a:xfrm flipV="1">
            <a:off x="558800" y="5486400"/>
            <a:ext cx="1158240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pic>
        <p:nvPicPr>
          <p:cNvPr id="9" name="Picture 5"/>
          <p:cNvPicPr>
            <a:picLocks noChangeAspect="1" noChangeArrowheads="1"/>
          </p:cNvPicPr>
          <p:nvPr/>
        </p:nvPicPr>
        <p:blipFill>
          <a:blip r:embed="rId3" cstate="print"/>
          <a:srcRect r="27420"/>
          <a:stretch>
            <a:fillRect/>
          </a:stretch>
        </p:blipFill>
        <p:spPr bwMode="auto">
          <a:xfrm>
            <a:off x="2778021" y="3429001"/>
            <a:ext cx="8067779" cy="1824038"/>
          </a:xfrm>
          <a:prstGeom prst="rect">
            <a:avLst/>
          </a:prstGeom>
          <a:noFill/>
          <a:ln w="9525" algn="in">
            <a:noFill/>
            <a:miter lim="800000"/>
            <a:headEnd/>
            <a:tailEnd/>
          </a:ln>
          <a:effectLst/>
        </p:spPr>
      </p:pic>
      <p:sp>
        <p:nvSpPr>
          <p:cNvPr id="10" name="Text Box 6"/>
          <p:cNvSpPr txBox="1">
            <a:spLocks noChangeArrowheads="1"/>
          </p:cNvSpPr>
          <p:nvPr/>
        </p:nvSpPr>
        <p:spPr bwMode="auto">
          <a:xfrm>
            <a:off x="9658350" y="3810000"/>
            <a:ext cx="1720850" cy="27622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200" b="0" i="0" u="none" strike="noStrike" cap="none" normalizeH="0" baseline="0" dirty="0">
                <a:ln>
                  <a:noFill/>
                </a:ln>
                <a:solidFill>
                  <a:srgbClr val="FFFFFF"/>
                </a:solidFill>
                <a:effectLst/>
                <a:latin typeface="Articulate" pitchFamily="2" charset="0"/>
                <a:cs typeface="Arial" pitchFamily="34" charset="0"/>
              </a:rPr>
              <a:t>5</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cSld>
  <p:clrMapOvr>
    <a:masterClrMapping/>
  </p:clrMapOvr>
  <p:transition spd="slow">
    <p:rand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2463800" y="304800"/>
            <a:ext cx="7911253" cy="1362422"/>
          </a:xfrm>
          <a:prstGeom prst="rect">
            <a:avLst/>
          </a:prstGeom>
          <a:noFill/>
        </p:spPr>
        <p:txBody>
          <a:bodyPr wrap="square" lIns="130046" tIns="65023" rIns="130046" bIns="65023" rtlCol="0">
            <a:spAutoFit/>
          </a:bodyPr>
          <a:lstStyle/>
          <a:p>
            <a:pPr algn="l"/>
            <a:r>
              <a:rPr lang="en-US" sz="8000" b="1" dirty="0">
                <a:latin typeface="Calibri" pitchFamily="34" charset="0"/>
              </a:rPr>
              <a:t>Career</a:t>
            </a:r>
            <a:r>
              <a:rPr lang="en-US" sz="5400" b="1" dirty="0">
                <a:latin typeface="Calibri" pitchFamily="34" charset="0"/>
              </a:rPr>
              <a:t> </a:t>
            </a:r>
            <a:r>
              <a:rPr lang="en-US" sz="8000" b="1" dirty="0">
                <a:latin typeface="Calibri" pitchFamily="34" charset="0"/>
              </a:rPr>
              <a:t>Pattern</a:t>
            </a:r>
          </a:p>
        </p:txBody>
      </p:sp>
      <p:sp>
        <p:nvSpPr>
          <p:cNvPr id="13" name="Up Arrow 12"/>
          <p:cNvSpPr/>
          <p:nvPr/>
        </p:nvSpPr>
        <p:spPr bwMode="auto">
          <a:xfrm>
            <a:off x="25400" y="76200"/>
            <a:ext cx="1447800" cy="9067800"/>
          </a:xfrm>
          <a:prstGeom prst="up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Your Growth in Experienc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4" name="Right Arrow 13"/>
          <p:cNvSpPr/>
          <p:nvPr/>
        </p:nvSpPr>
        <p:spPr bwMode="auto">
          <a:xfrm>
            <a:off x="406400" y="8524868"/>
            <a:ext cx="11277600" cy="1219200"/>
          </a:xfrm>
          <a:prstGeom prst="right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Over Time (years)</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6" name="Freeform 15"/>
          <p:cNvSpPr/>
          <p:nvPr/>
        </p:nvSpPr>
        <p:spPr bwMode="auto">
          <a:xfrm>
            <a:off x="1092200" y="2057400"/>
            <a:ext cx="7315200" cy="6731875"/>
          </a:xfrm>
          <a:custGeom>
            <a:avLst/>
            <a:gdLst>
              <a:gd name="connsiteX0" fmla="*/ 0 w 7315200"/>
              <a:gd name="connsiteY0" fmla="*/ 6731875 h 6731875"/>
              <a:gd name="connsiteX1" fmla="*/ 78827 w 7315200"/>
              <a:gd name="connsiteY1" fmla="*/ 6700344 h 6731875"/>
              <a:gd name="connsiteX2" fmla="*/ 110358 w 7315200"/>
              <a:gd name="connsiteY2" fmla="*/ 6653048 h 6731875"/>
              <a:gd name="connsiteX3" fmla="*/ 204951 w 7315200"/>
              <a:gd name="connsiteY3" fmla="*/ 6621517 h 6731875"/>
              <a:gd name="connsiteX4" fmla="*/ 299545 w 7315200"/>
              <a:gd name="connsiteY4" fmla="*/ 6558455 h 6731875"/>
              <a:gd name="connsiteX5" fmla="*/ 346841 w 7315200"/>
              <a:gd name="connsiteY5" fmla="*/ 6542689 h 6731875"/>
              <a:gd name="connsiteX6" fmla="*/ 441434 w 7315200"/>
              <a:gd name="connsiteY6" fmla="*/ 6463862 h 6731875"/>
              <a:gd name="connsiteX7" fmla="*/ 488731 w 7315200"/>
              <a:gd name="connsiteY7" fmla="*/ 6432331 h 6731875"/>
              <a:gd name="connsiteX8" fmla="*/ 551793 w 7315200"/>
              <a:gd name="connsiteY8" fmla="*/ 6385034 h 6731875"/>
              <a:gd name="connsiteX9" fmla="*/ 599089 w 7315200"/>
              <a:gd name="connsiteY9" fmla="*/ 6290441 h 6731875"/>
              <a:gd name="connsiteX10" fmla="*/ 646386 w 7315200"/>
              <a:gd name="connsiteY10" fmla="*/ 6274675 h 6731875"/>
              <a:gd name="connsiteX11" fmla="*/ 693682 w 7315200"/>
              <a:gd name="connsiteY11" fmla="*/ 6243144 h 6731875"/>
              <a:gd name="connsiteX12" fmla="*/ 914400 w 7315200"/>
              <a:gd name="connsiteY12" fmla="*/ 6211613 h 6731875"/>
              <a:gd name="connsiteX13" fmla="*/ 961696 w 7315200"/>
              <a:gd name="connsiteY13" fmla="*/ 6180082 h 6731875"/>
              <a:gd name="connsiteX14" fmla="*/ 1008993 w 7315200"/>
              <a:gd name="connsiteY14" fmla="*/ 6164317 h 6731875"/>
              <a:gd name="connsiteX15" fmla="*/ 1040524 w 7315200"/>
              <a:gd name="connsiteY15" fmla="*/ 6117020 h 6731875"/>
              <a:gd name="connsiteX16" fmla="*/ 1087820 w 7315200"/>
              <a:gd name="connsiteY16" fmla="*/ 6069724 h 6731875"/>
              <a:gd name="connsiteX17" fmla="*/ 1119351 w 7315200"/>
              <a:gd name="connsiteY17" fmla="*/ 6022427 h 6731875"/>
              <a:gd name="connsiteX18" fmla="*/ 1166648 w 7315200"/>
              <a:gd name="connsiteY18" fmla="*/ 5975131 h 6731875"/>
              <a:gd name="connsiteX19" fmla="*/ 1229710 w 7315200"/>
              <a:gd name="connsiteY19" fmla="*/ 5880537 h 6731875"/>
              <a:gd name="connsiteX20" fmla="*/ 1277007 w 7315200"/>
              <a:gd name="connsiteY20" fmla="*/ 5849006 h 6731875"/>
              <a:gd name="connsiteX21" fmla="*/ 1418896 w 7315200"/>
              <a:gd name="connsiteY21" fmla="*/ 5817475 h 6731875"/>
              <a:gd name="connsiteX22" fmla="*/ 1481958 w 7315200"/>
              <a:gd name="connsiteY22" fmla="*/ 5801710 h 6731875"/>
              <a:gd name="connsiteX23" fmla="*/ 1529255 w 7315200"/>
              <a:gd name="connsiteY23" fmla="*/ 5785944 h 6731875"/>
              <a:gd name="connsiteX24" fmla="*/ 1844565 w 7315200"/>
              <a:gd name="connsiteY24" fmla="*/ 5770179 h 6731875"/>
              <a:gd name="connsiteX25" fmla="*/ 1970689 w 7315200"/>
              <a:gd name="connsiteY25" fmla="*/ 5754413 h 6731875"/>
              <a:gd name="connsiteX26" fmla="*/ 2333296 w 7315200"/>
              <a:gd name="connsiteY26" fmla="*/ 5738648 h 6731875"/>
              <a:gd name="connsiteX27" fmla="*/ 2427889 w 7315200"/>
              <a:gd name="connsiteY27" fmla="*/ 5707117 h 6731875"/>
              <a:gd name="connsiteX28" fmla="*/ 2475186 w 7315200"/>
              <a:gd name="connsiteY28" fmla="*/ 5691351 h 6731875"/>
              <a:gd name="connsiteX29" fmla="*/ 2506717 w 7315200"/>
              <a:gd name="connsiteY29" fmla="*/ 5644055 h 6731875"/>
              <a:gd name="connsiteX30" fmla="*/ 2554014 w 7315200"/>
              <a:gd name="connsiteY30" fmla="*/ 5612524 h 6731875"/>
              <a:gd name="connsiteX31" fmla="*/ 2569779 w 7315200"/>
              <a:gd name="connsiteY31" fmla="*/ 5565227 h 6731875"/>
              <a:gd name="connsiteX32" fmla="*/ 2632841 w 7315200"/>
              <a:gd name="connsiteY32" fmla="*/ 5454868 h 6731875"/>
              <a:gd name="connsiteX33" fmla="*/ 2648607 w 7315200"/>
              <a:gd name="connsiteY33" fmla="*/ 5407572 h 6731875"/>
              <a:gd name="connsiteX34" fmla="*/ 2695903 w 7315200"/>
              <a:gd name="connsiteY34" fmla="*/ 5344510 h 6731875"/>
              <a:gd name="connsiteX35" fmla="*/ 2758965 w 7315200"/>
              <a:gd name="connsiteY35" fmla="*/ 5234151 h 6731875"/>
              <a:gd name="connsiteX36" fmla="*/ 2790496 w 7315200"/>
              <a:gd name="connsiteY36" fmla="*/ 5186855 h 6731875"/>
              <a:gd name="connsiteX37" fmla="*/ 2806262 w 7315200"/>
              <a:gd name="connsiteY37" fmla="*/ 5139558 h 6731875"/>
              <a:gd name="connsiteX38" fmla="*/ 2869324 w 7315200"/>
              <a:gd name="connsiteY38" fmla="*/ 5029200 h 6731875"/>
              <a:gd name="connsiteX39" fmla="*/ 2932386 w 7315200"/>
              <a:gd name="connsiteY39" fmla="*/ 4840013 h 6731875"/>
              <a:gd name="connsiteX40" fmla="*/ 2979682 w 7315200"/>
              <a:gd name="connsiteY40" fmla="*/ 4729655 h 6731875"/>
              <a:gd name="connsiteX41" fmla="*/ 3090041 w 7315200"/>
              <a:gd name="connsiteY41" fmla="*/ 4698124 h 6731875"/>
              <a:gd name="connsiteX42" fmla="*/ 3137338 w 7315200"/>
              <a:gd name="connsiteY42" fmla="*/ 4666593 h 6731875"/>
              <a:gd name="connsiteX43" fmla="*/ 3184634 w 7315200"/>
              <a:gd name="connsiteY43" fmla="*/ 4650827 h 6731875"/>
              <a:gd name="connsiteX44" fmla="*/ 3389586 w 7315200"/>
              <a:gd name="connsiteY44" fmla="*/ 4603531 h 6731875"/>
              <a:gd name="connsiteX45" fmla="*/ 3484179 w 7315200"/>
              <a:gd name="connsiteY45" fmla="*/ 4524703 h 6731875"/>
              <a:gd name="connsiteX46" fmla="*/ 3563007 w 7315200"/>
              <a:gd name="connsiteY46" fmla="*/ 4430110 h 6731875"/>
              <a:gd name="connsiteX47" fmla="*/ 3610303 w 7315200"/>
              <a:gd name="connsiteY47" fmla="*/ 4382813 h 6731875"/>
              <a:gd name="connsiteX48" fmla="*/ 3657600 w 7315200"/>
              <a:gd name="connsiteY48" fmla="*/ 4288220 h 6731875"/>
              <a:gd name="connsiteX49" fmla="*/ 3673365 w 7315200"/>
              <a:gd name="connsiteY49" fmla="*/ 4240924 h 6731875"/>
              <a:gd name="connsiteX50" fmla="*/ 3704896 w 7315200"/>
              <a:gd name="connsiteY50" fmla="*/ 4177862 h 6731875"/>
              <a:gd name="connsiteX51" fmla="*/ 3720662 w 7315200"/>
              <a:gd name="connsiteY51" fmla="*/ 4114800 h 6731875"/>
              <a:gd name="connsiteX52" fmla="*/ 3736427 w 7315200"/>
              <a:gd name="connsiteY52" fmla="*/ 4067503 h 6731875"/>
              <a:gd name="connsiteX53" fmla="*/ 3752193 w 7315200"/>
              <a:gd name="connsiteY53" fmla="*/ 4004441 h 6731875"/>
              <a:gd name="connsiteX54" fmla="*/ 3815255 w 7315200"/>
              <a:gd name="connsiteY54" fmla="*/ 3846786 h 6731875"/>
              <a:gd name="connsiteX55" fmla="*/ 3878317 w 7315200"/>
              <a:gd name="connsiteY55" fmla="*/ 3704896 h 6731875"/>
              <a:gd name="connsiteX56" fmla="*/ 3909848 w 7315200"/>
              <a:gd name="connsiteY56" fmla="*/ 3610303 h 6731875"/>
              <a:gd name="connsiteX57" fmla="*/ 3925614 w 7315200"/>
              <a:gd name="connsiteY57" fmla="*/ 3563006 h 6731875"/>
              <a:gd name="connsiteX58" fmla="*/ 3957145 w 7315200"/>
              <a:gd name="connsiteY58" fmla="*/ 3515710 h 6731875"/>
              <a:gd name="connsiteX59" fmla="*/ 4035972 w 7315200"/>
              <a:gd name="connsiteY59" fmla="*/ 3373820 h 6731875"/>
              <a:gd name="connsiteX60" fmla="*/ 4051738 w 7315200"/>
              <a:gd name="connsiteY60" fmla="*/ 3326524 h 6731875"/>
              <a:gd name="connsiteX61" fmla="*/ 4114800 w 7315200"/>
              <a:gd name="connsiteY61" fmla="*/ 3231931 h 6731875"/>
              <a:gd name="connsiteX62" fmla="*/ 4193627 w 7315200"/>
              <a:gd name="connsiteY62" fmla="*/ 3058510 h 6731875"/>
              <a:gd name="connsiteX63" fmla="*/ 4225158 w 7315200"/>
              <a:gd name="connsiteY63" fmla="*/ 3011213 h 6731875"/>
              <a:gd name="connsiteX64" fmla="*/ 4256689 w 7315200"/>
              <a:gd name="connsiteY64" fmla="*/ 2932386 h 6731875"/>
              <a:gd name="connsiteX65" fmla="*/ 4303986 w 7315200"/>
              <a:gd name="connsiteY65" fmla="*/ 2853558 h 6731875"/>
              <a:gd name="connsiteX66" fmla="*/ 4319751 w 7315200"/>
              <a:gd name="connsiteY66" fmla="*/ 2806262 h 6731875"/>
              <a:gd name="connsiteX67" fmla="*/ 4351282 w 7315200"/>
              <a:gd name="connsiteY67" fmla="*/ 2727434 h 6731875"/>
              <a:gd name="connsiteX68" fmla="*/ 4382814 w 7315200"/>
              <a:gd name="connsiteY68" fmla="*/ 2680137 h 6731875"/>
              <a:gd name="connsiteX69" fmla="*/ 4430110 w 7315200"/>
              <a:gd name="connsiteY69" fmla="*/ 2490951 h 6731875"/>
              <a:gd name="connsiteX70" fmla="*/ 4445876 w 7315200"/>
              <a:gd name="connsiteY70" fmla="*/ 2443655 h 6731875"/>
              <a:gd name="connsiteX71" fmla="*/ 4493172 w 7315200"/>
              <a:gd name="connsiteY71" fmla="*/ 2412124 h 6731875"/>
              <a:gd name="connsiteX72" fmla="*/ 4556234 w 7315200"/>
              <a:gd name="connsiteY72" fmla="*/ 2333296 h 6731875"/>
              <a:gd name="connsiteX73" fmla="*/ 4587765 w 7315200"/>
              <a:gd name="connsiteY73" fmla="*/ 2286000 h 6731875"/>
              <a:gd name="connsiteX74" fmla="*/ 4619296 w 7315200"/>
              <a:gd name="connsiteY74" fmla="*/ 2254468 h 6731875"/>
              <a:gd name="connsiteX75" fmla="*/ 4698124 w 7315200"/>
              <a:gd name="connsiteY75" fmla="*/ 2144110 h 6731875"/>
              <a:gd name="connsiteX76" fmla="*/ 4745420 w 7315200"/>
              <a:gd name="connsiteY76" fmla="*/ 2112579 h 6731875"/>
              <a:gd name="connsiteX77" fmla="*/ 4871545 w 7315200"/>
              <a:gd name="connsiteY77" fmla="*/ 2033751 h 6731875"/>
              <a:gd name="connsiteX78" fmla="*/ 4966138 w 7315200"/>
              <a:gd name="connsiteY78" fmla="*/ 1986455 h 6731875"/>
              <a:gd name="connsiteX79" fmla="*/ 5060731 w 7315200"/>
              <a:gd name="connsiteY79" fmla="*/ 1939158 h 6731875"/>
              <a:gd name="connsiteX80" fmla="*/ 5108027 w 7315200"/>
              <a:gd name="connsiteY80" fmla="*/ 1907627 h 6731875"/>
              <a:gd name="connsiteX81" fmla="*/ 5202620 w 7315200"/>
              <a:gd name="connsiteY81" fmla="*/ 1876096 h 6731875"/>
              <a:gd name="connsiteX82" fmla="*/ 5249917 w 7315200"/>
              <a:gd name="connsiteY82" fmla="*/ 1860331 h 6731875"/>
              <a:gd name="connsiteX83" fmla="*/ 5360276 w 7315200"/>
              <a:gd name="connsiteY83" fmla="*/ 1844565 h 6731875"/>
              <a:gd name="connsiteX84" fmla="*/ 5407572 w 7315200"/>
              <a:gd name="connsiteY84" fmla="*/ 1828800 h 6731875"/>
              <a:gd name="connsiteX85" fmla="*/ 5470634 w 7315200"/>
              <a:gd name="connsiteY85" fmla="*/ 1813034 h 6731875"/>
              <a:gd name="connsiteX86" fmla="*/ 5565227 w 7315200"/>
              <a:gd name="connsiteY86" fmla="*/ 1734206 h 6731875"/>
              <a:gd name="connsiteX87" fmla="*/ 5628289 w 7315200"/>
              <a:gd name="connsiteY87" fmla="*/ 1686910 h 6731875"/>
              <a:gd name="connsiteX88" fmla="*/ 5722882 w 7315200"/>
              <a:gd name="connsiteY88" fmla="*/ 1623848 h 6731875"/>
              <a:gd name="connsiteX89" fmla="*/ 5754414 w 7315200"/>
              <a:gd name="connsiteY89" fmla="*/ 1592317 h 6731875"/>
              <a:gd name="connsiteX90" fmla="*/ 5785945 w 7315200"/>
              <a:gd name="connsiteY90" fmla="*/ 1529255 h 6731875"/>
              <a:gd name="connsiteX91" fmla="*/ 5817476 w 7315200"/>
              <a:gd name="connsiteY91" fmla="*/ 1481958 h 6731875"/>
              <a:gd name="connsiteX92" fmla="*/ 5864772 w 7315200"/>
              <a:gd name="connsiteY92" fmla="*/ 1387365 h 6731875"/>
              <a:gd name="connsiteX93" fmla="*/ 5927834 w 7315200"/>
              <a:gd name="connsiteY93" fmla="*/ 1371600 h 6731875"/>
              <a:gd name="connsiteX94" fmla="*/ 6022427 w 7315200"/>
              <a:gd name="connsiteY94" fmla="*/ 1340068 h 6731875"/>
              <a:gd name="connsiteX95" fmla="*/ 6479627 w 7315200"/>
              <a:gd name="connsiteY95" fmla="*/ 1308537 h 6731875"/>
              <a:gd name="connsiteX96" fmla="*/ 6574220 w 7315200"/>
              <a:gd name="connsiteY96" fmla="*/ 1277006 h 6731875"/>
              <a:gd name="connsiteX97" fmla="*/ 6637282 w 7315200"/>
              <a:gd name="connsiteY97" fmla="*/ 1229710 h 6731875"/>
              <a:gd name="connsiteX98" fmla="*/ 6716110 w 7315200"/>
              <a:gd name="connsiteY98" fmla="*/ 1150882 h 6731875"/>
              <a:gd name="connsiteX99" fmla="*/ 6763407 w 7315200"/>
              <a:gd name="connsiteY99" fmla="*/ 1103586 h 6731875"/>
              <a:gd name="connsiteX100" fmla="*/ 6842234 w 7315200"/>
              <a:gd name="connsiteY100" fmla="*/ 993227 h 6731875"/>
              <a:gd name="connsiteX101" fmla="*/ 6952593 w 7315200"/>
              <a:gd name="connsiteY101" fmla="*/ 851337 h 6731875"/>
              <a:gd name="connsiteX102" fmla="*/ 6984124 w 7315200"/>
              <a:gd name="connsiteY102" fmla="*/ 804041 h 6731875"/>
              <a:gd name="connsiteX103" fmla="*/ 7062951 w 7315200"/>
              <a:gd name="connsiteY103" fmla="*/ 630620 h 6731875"/>
              <a:gd name="connsiteX104" fmla="*/ 7078717 w 7315200"/>
              <a:gd name="connsiteY104" fmla="*/ 583324 h 6731875"/>
              <a:gd name="connsiteX105" fmla="*/ 7110248 w 7315200"/>
              <a:gd name="connsiteY105" fmla="*/ 536027 h 6731875"/>
              <a:gd name="connsiteX106" fmla="*/ 7157545 w 7315200"/>
              <a:gd name="connsiteY106" fmla="*/ 441434 h 6731875"/>
              <a:gd name="connsiteX107" fmla="*/ 7204841 w 7315200"/>
              <a:gd name="connsiteY107" fmla="*/ 346841 h 6731875"/>
              <a:gd name="connsiteX108" fmla="*/ 7236372 w 7315200"/>
              <a:gd name="connsiteY108" fmla="*/ 252248 h 6731875"/>
              <a:gd name="connsiteX109" fmla="*/ 7252138 w 7315200"/>
              <a:gd name="connsiteY109" fmla="*/ 204951 h 6731875"/>
              <a:gd name="connsiteX110" fmla="*/ 7283669 w 7315200"/>
              <a:gd name="connsiteY110" fmla="*/ 78827 h 6731875"/>
              <a:gd name="connsiteX111" fmla="*/ 7315200 w 7315200"/>
              <a:gd name="connsiteY111" fmla="*/ 0 h 67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315200" h="6731875">
                <a:moveTo>
                  <a:pt x="0" y="6731875"/>
                </a:moveTo>
                <a:cubicBezTo>
                  <a:pt x="26276" y="6721365"/>
                  <a:pt x="55799" y="6716793"/>
                  <a:pt x="78827" y="6700344"/>
                </a:cubicBezTo>
                <a:cubicBezTo>
                  <a:pt x="94245" y="6689331"/>
                  <a:pt x="94290" y="6663090"/>
                  <a:pt x="110358" y="6653048"/>
                </a:cubicBezTo>
                <a:cubicBezTo>
                  <a:pt x="138543" y="6635433"/>
                  <a:pt x="204951" y="6621517"/>
                  <a:pt x="204951" y="6621517"/>
                </a:cubicBezTo>
                <a:cubicBezTo>
                  <a:pt x="236482" y="6600496"/>
                  <a:pt x="263594" y="6570439"/>
                  <a:pt x="299545" y="6558455"/>
                </a:cubicBezTo>
                <a:cubicBezTo>
                  <a:pt x="315310" y="6553200"/>
                  <a:pt x="331977" y="6550121"/>
                  <a:pt x="346841" y="6542689"/>
                </a:cubicBezTo>
                <a:cubicBezTo>
                  <a:pt x="405559" y="6513330"/>
                  <a:pt x="389130" y="6507448"/>
                  <a:pt x="441434" y="6463862"/>
                </a:cubicBezTo>
                <a:cubicBezTo>
                  <a:pt x="455990" y="6451732"/>
                  <a:pt x="473312" y="6443344"/>
                  <a:pt x="488731" y="6432331"/>
                </a:cubicBezTo>
                <a:cubicBezTo>
                  <a:pt x="510113" y="6417058"/>
                  <a:pt x="530772" y="6400800"/>
                  <a:pt x="551793" y="6385034"/>
                </a:cubicBezTo>
                <a:cubicBezTo>
                  <a:pt x="562179" y="6353876"/>
                  <a:pt x="571304" y="6312669"/>
                  <a:pt x="599089" y="6290441"/>
                </a:cubicBezTo>
                <a:cubicBezTo>
                  <a:pt x="612066" y="6280060"/>
                  <a:pt x="631522" y="6282107"/>
                  <a:pt x="646386" y="6274675"/>
                </a:cubicBezTo>
                <a:cubicBezTo>
                  <a:pt x="663333" y="6266201"/>
                  <a:pt x="675238" y="6247484"/>
                  <a:pt x="693682" y="6243144"/>
                </a:cubicBezTo>
                <a:cubicBezTo>
                  <a:pt x="766026" y="6226122"/>
                  <a:pt x="840827" y="6222123"/>
                  <a:pt x="914400" y="6211613"/>
                </a:cubicBezTo>
                <a:cubicBezTo>
                  <a:pt x="930165" y="6201103"/>
                  <a:pt x="944749" y="6188556"/>
                  <a:pt x="961696" y="6180082"/>
                </a:cubicBezTo>
                <a:cubicBezTo>
                  <a:pt x="976560" y="6172650"/>
                  <a:pt x="996016" y="6174698"/>
                  <a:pt x="1008993" y="6164317"/>
                </a:cubicBezTo>
                <a:cubicBezTo>
                  <a:pt x="1023789" y="6152480"/>
                  <a:pt x="1028394" y="6131576"/>
                  <a:pt x="1040524" y="6117020"/>
                </a:cubicBezTo>
                <a:cubicBezTo>
                  <a:pt x="1054797" y="6099892"/>
                  <a:pt x="1073547" y="6086852"/>
                  <a:pt x="1087820" y="6069724"/>
                </a:cubicBezTo>
                <a:cubicBezTo>
                  <a:pt x="1099950" y="6055168"/>
                  <a:pt x="1107221" y="6036983"/>
                  <a:pt x="1119351" y="6022427"/>
                </a:cubicBezTo>
                <a:cubicBezTo>
                  <a:pt x="1133624" y="6005299"/>
                  <a:pt x="1152960" y="5992730"/>
                  <a:pt x="1166648" y="5975131"/>
                </a:cubicBezTo>
                <a:cubicBezTo>
                  <a:pt x="1189914" y="5945218"/>
                  <a:pt x="1198179" y="5901558"/>
                  <a:pt x="1229710" y="5880537"/>
                </a:cubicBezTo>
                <a:cubicBezTo>
                  <a:pt x="1245476" y="5870027"/>
                  <a:pt x="1260059" y="5857480"/>
                  <a:pt x="1277007" y="5849006"/>
                </a:cubicBezTo>
                <a:cubicBezTo>
                  <a:pt x="1317914" y="5828553"/>
                  <a:pt x="1378534" y="5825547"/>
                  <a:pt x="1418896" y="5817475"/>
                </a:cubicBezTo>
                <a:cubicBezTo>
                  <a:pt x="1440143" y="5813226"/>
                  <a:pt x="1461124" y="5807663"/>
                  <a:pt x="1481958" y="5801710"/>
                </a:cubicBezTo>
                <a:cubicBezTo>
                  <a:pt x="1497937" y="5797145"/>
                  <a:pt x="1512699" y="5787384"/>
                  <a:pt x="1529255" y="5785944"/>
                </a:cubicBezTo>
                <a:cubicBezTo>
                  <a:pt x="1634094" y="5776828"/>
                  <a:pt x="1739462" y="5775434"/>
                  <a:pt x="1844565" y="5770179"/>
                </a:cubicBezTo>
                <a:cubicBezTo>
                  <a:pt x="1886606" y="5764924"/>
                  <a:pt x="1928408" y="5757141"/>
                  <a:pt x="1970689" y="5754413"/>
                </a:cubicBezTo>
                <a:cubicBezTo>
                  <a:pt x="2091421" y="5746624"/>
                  <a:pt x="2212955" y="5751097"/>
                  <a:pt x="2333296" y="5738648"/>
                </a:cubicBezTo>
                <a:cubicBezTo>
                  <a:pt x="2366356" y="5735228"/>
                  <a:pt x="2396358" y="5717627"/>
                  <a:pt x="2427889" y="5707117"/>
                </a:cubicBezTo>
                <a:lnTo>
                  <a:pt x="2475186" y="5691351"/>
                </a:lnTo>
                <a:cubicBezTo>
                  <a:pt x="2485696" y="5675586"/>
                  <a:pt x="2493319" y="5657453"/>
                  <a:pt x="2506717" y="5644055"/>
                </a:cubicBezTo>
                <a:cubicBezTo>
                  <a:pt x="2520115" y="5630657"/>
                  <a:pt x="2542177" y="5627320"/>
                  <a:pt x="2554014" y="5612524"/>
                </a:cubicBezTo>
                <a:cubicBezTo>
                  <a:pt x="2564395" y="5599547"/>
                  <a:pt x="2563233" y="5580502"/>
                  <a:pt x="2569779" y="5565227"/>
                </a:cubicBezTo>
                <a:cubicBezTo>
                  <a:pt x="2652679" y="5371790"/>
                  <a:pt x="2553690" y="5613169"/>
                  <a:pt x="2632841" y="5454868"/>
                </a:cubicBezTo>
                <a:cubicBezTo>
                  <a:pt x="2640273" y="5440004"/>
                  <a:pt x="2640362" y="5422001"/>
                  <a:pt x="2648607" y="5407572"/>
                </a:cubicBezTo>
                <a:cubicBezTo>
                  <a:pt x="2661643" y="5384758"/>
                  <a:pt x="2680631" y="5365892"/>
                  <a:pt x="2695903" y="5344510"/>
                </a:cubicBezTo>
                <a:cubicBezTo>
                  <a:pt x="2750776" y="5267687"/>
                  <a:pt x="2706178" y="5326528"/>
                  <a:pt x="2758965" y="5234151"/>
                </a:cubicBezTo>
                <a:cubicBezTo>
                  <a:pt x="2768366" y="5217700"/>
                  <a:pt x="2782022" y="5203802"/>
                  <a:pt x="2790496" y="5186855"/>
                </a:cubicBezTo>
                <a:cubicBezTo>
                  <a:pt x="2797928" y="5171991"/>
                  <a:pt x="2799716" y="5154833"/>
                  <a:pt x="2806262" y="5139558"/>
                </a:cubicBezTo>
                <a:cubicBezTo>
                  <a:pt x="2830265" y="5083550"/>
                  <a:pt x="2837657" y="5076700"/>
                  <a:pt x="2869324" y="5029200"/>
                </a:cubicBezTo>
                <a:lnTo>
                  <a:pt x="2932386" y="4840013"/>
                </a:lnTo>
                <a:cubicBezTo>
                  <a:pt x="2946157" y="4798701"/>
                  <a:pt x="2941894" y="4759885"/>
                  <a:pt x="2979682" y="4729655"/>
                </a:cubicBezTo>
                <a:cubicBezTo>
                  <a:pt x="2989964" y="4721429"/>
                  <a:pt x="3085918" y="4699155"/>
                  <a:pt x="3090041" y="4698124"/>
                </a:cubicBezTo>
                <a:cubicBezTo>
                  <a:pt x="3105807" y="4687614"/>
                  <a:pt x="3120391" y="4675067"/>
                  <a:pt x="3137338" y="4666593"/>
                </a:cubicBezTo>
                <a:cubicBezTo>
                  <a:pt x="3152202" y="4659161"/>
                  <a:pt x="3168512" y="4654858"/>
                  <a:pt x="3184634" y="4650827"/>
                </a:cubicBezTo>
                <a:cubicBezTo>
                  <a:pt x="3252653" y="4633822"/>
                  <a:pt x="3321269" y="4619296"/>
                  <a:pt x="3389586" y="4603531"/>
                </a:cubicBezTo>
                <a:cubicBezTo>
                  <a:pt x="3527753" y="4465361"/>
                  <a:pt x="3352491" y="4634443"/>
                  <a:pt x="3484179" y="4524703"/>
                </a:cubicBezTo>
                <a:cubicBezTo>
                  <a:pt x="3559545" y="4461898"/>
                  <a:pt x="3506640" y="4497750"/>
                  <a:pt x="3563007" y="4430110"/>
                </a:cubicBezTo>
                <a:cubicBezTo>
                  <a:pt x="3577280" y="4412982"/>
                  <a:pt x="3594538" y="4398579"/>
                  <a:pt x="3610303" y="4382813"/>
                </a:cubicBezTo>
                <a:cubicBezTo>
                  <a:pt x="3649933" y="4263927"/>
                  <a:pt x="3596473" y="4410475"/>
                  <a:pt x="3657600" y="4288220"/>
                </a:cubicBezTo>
                <a:cubicBezTo>
                  <a:pt x="3665032" y="4273356"/>
                  <a:pt x="3666819" y="4256198"/>
                  <a:pt x="3673365" y="4240924"/>
                </a:cubicBezTo>
                <a:cubicBezTo>
                  <a:pt x="3682623" y="4219322"/>
                  <a:pt x="3696644" y="4199867"/>
                  <a:pt x="3704896" y="4177862"/>
                </a:cubicBezTo>
                <a:cubicBezTo>
                  <a:pt x="3712504" y="4157574"/>
                  <a:pt x="3714709" y="4135634"/>
                  <a:pt x="3720662" y="4114800"/>
                </a:cubicBezTo>
                <a:cubicBezTo>
                  <a:pt x="3725227" y="4098821"/>
                  <a:pt x="3731862" y="4083482"/>
                  <a:pt x="3736427" y="4067503"/>
                </a:cubicBezTo>
                <a:cubicBezTo>
                  <a:pt x="3742380" y="4046669"/>
                  <a:pt x="3745967" y="4025195"/>
                  <a:pt x="3752193" y="4004441"/>
                </a:cubicBezTo>
                <a:cubicBezTo>
                  <a:pt x="3814941" y="3795284"/>
                  <a:pt x="3752042" y="4004819"/>
                  <a:pt x="3815255" y="3846786"/>
                </a:cubicBezTo>
                <a:cubicBezTo>
                  <a:pt x="3871540" y="3706075"/>
                  <a:pt x="3817654" y="3795892"/>
                  <a:pt x="3878317" y="3704896"/>
                </a:cubicBezTo>
                <a:lnTo>
                  <a:pt x="3909848" y="3610303"/>
                </a:lnTo>
                <a:cubicBezTo>
                  <a:pt x="3915103" y="3594537"/>
                  <a:pt x="3916396" y="3576833"/>
                  <a:pt x="3925614" y="3563006"/>
                </a:cubicBezTo>
                <a:lnTo>
                  <a:pt x="3957145" y="3515710"/>
                </a:lnTo>
                <a:cubicBezTo>
                  <a:pt x="3984893" y="3432462"/>
                  <a:pt x="3963692" y="3482240"/>
                  <a:pt x="4035972" y="3373820"/>
                </a:cubicBezTo>
                <a:cubicBezTo>
                  <a:pt x="4045190" y="3359993"/>
                  <a:pt x="4043667" y="3341051"/>
                  <a:pt x="4051738" y="3326524"/>
                </a:cubicBezTo>
                <a:cubicBezTo>
                  <a:pt x="4070142" y="3293397"/>
                  <a:pt x="4093779" y="3263462"/>
                  <a:pt x="4114800" y="3231931"/>
                </a:cubicBezTo>
                <a:cubicBezTo>
                  <a:pt x="4288066" y="2972032"/>
                  <a:pt x="4126664" y="3192438"/>
                  <a:pt x="4193627" y="3058510"/>
                </a:cubicBezTo>
                <a:cubicBezTo>
                  <a:pt x="4202101" y="3041562"/>
                  <a:pt x="4216684" y="3028161"/>
                  <a:pt x="4225158" y="3011213"/>
                </a:cubicBezTo>
                <a:cubicBezTo>
                  <a:pt x="4237814" y="2985901"/>
                  <a:pt x="4244033" y="2957698"/>
                  <a:pt x="4256689" y="2932386"/>
                </a:cubicBezTo>
                <a:cubicBezTo>
                  <a:pt x="4270393" y="2904978"/>
                  <a:pt x="4290282" y="2880966"/>
                  <a:pt x="4303986" y="2853558"/>
                </a:cubicBezTo>
                <a:cubicBezTo>
                  <a:pt x="4311418" y="2838694"/>
                  <a:pt x="4313916" y="2821822"/>
                  <a:pt x="4319751" y="2806262"/>
                </a:cubicBezTo>
                <a:cubicBezTo>
                  <a:pt x="4329688" y="2779764"/>
                  <a:pt x="4338626" y="2752746"/>
                  <a:pt x="4351282" y="2727434"/>
                </a:cubicBezTo>
                <a:cubicBezTo>
                  <a:pt x="4359756" y="2710486"/>
                  <a:pt x="4372303" y="2695903"/>
                  <a:pt x="4382814" y="2680137"/>
                </a:cubicBezTo>
                <a:cubicBezTo>
                  <a:pt x="4446530" y="2488990"/>
                  <a:pt x="4387649" y="2682025"/>
                  <a:pt x="4430110" y="2490951"/>
                </a:cubicBezTo>
                <a:cubicBezTo>
                  <a:pt x="4433715" y="2474729"/>
                  <a:pt x="4435495" y="2456632"/>
                  <a:pt x="4445876" y="2443655"/>
                </a:cubicBezTo>
                <a:cubicBezTo>
                  <a:pt x="4457713" y="2428859"/>
                  <a:pt x="4477407" y="2422634"/>
                  <a:pt x="4493172" y="2412124"/>
                </a:cubicBezTo>
                <a:cubicBezTo>
                  <a:pt x="4523865" y="2320047"/>
                  <a:pt x="4484923" y="2404607"/>
                  <a:pt x="4556234" y="2333296"/>
                </a:cubicBezTo>
                <a:cubicBezTo>
                  <a:pt x="4569632" y="2319898"/>
                  <a:pt x="4575929" y="2300796"/>
                  <a:pt x="4587765" y="2286000"/>
                </a:cubicBezTo>
                <a:cubicBezTo>
                  <a:pt x="4597050" y="2274393"/>
                  <a:pt x="4610011" y="2266075"/>
                  <a:pt x="4619296" y="2254468"/>
                </a:cubicBezTo>
                <a:cubicBezTo>
                  <a:pt x="4655102" y="2209710"/>
                  <a:pt x="4653743" y="2188491"/>
                  <a:pt x="4698124" y="2144110"/>
                </a:cubicBezTo>
                <a:cubicBezTo>
                  <a:pt x="4711522" y="2130712"/>
                  <a:pt x="4730002" y="2123592"/>
                  <a:pt x="4745420" y="2112579"/>
                </a:cubicBezTo>
                <a:cubicBezTo>
                  <a:pt x="4896139" y="2004921"/>
                  <a:pt x="4723393" y="2118409"/>
                  <a:pt x="4871545" y="2033751"/>
                </a:cubicBezTo>
                <a:cubicBezTo>
                  <a:pt x="4957119" y="1984852"/>
                  <a:pt x="4879421" y="2015360"/>
                  <a:pt x="4966138" y="1986455"/>
                </a:cubicBezTo>
                <a:cubicBezTo>
                  <a:pt x="5101680" y="1896093"/>
                  <a:pt x="4930188" y="2004430"/>
                  <a:pt x="5060731" y="1939158"/>
                </a:cubicBezTo>
                <a:cubicBezTo>
                  <a:pt x="5077678" y="1930684"/>
                  <a:pt x="5090712" y="1915322"/>
                  <a:pt x="5108027" y="1907627"/>
                </a:cubicBezTo>
                <a:cubicBezTo>
                  <a:pt x="5138399" y="1894128"/>
                  <a:pt x="5171089" y="1886606"/>
                  <a:pt x="5202620" y="1876096"/>
                </a:cubicBezTo>
                <a:cubicBezTo>
                  <a:pt x="5218386" y="1870841"/>
                  <a:pt x="5233466" y="1862681"/>
                  <a:pt x="5249917" y="1860331"/>
                </a:cubicBezTo>
                <a:lnTo>
                  <a:pt x="5360276" y="1844565"/>
                </a:lnTo>
                <a:cubicBezTo>
                  <a:pt x="5376041" y="1839310"/>
                  <a:pt x="5391593" y="1833365"/>
                  <a:pt x="5407572" y="1828800"/>
                </a:cubicBezTo>
                <a:cubicBezTo>
                  <a:pt x="5428406" y="1822847"/>
                  <a:pt x="5450718" y="1821569"/>
                  <a:pt x="5470634" y="1813034"/>
                </a:cubicBezTo>
                <a:cubicBezTo>
                  <a:pt x="5517097" y="1793121"/>
                  <a:pt x="5527343" y="1766678"/>
                  <a:pt x="5565227" y="1734206"/>
                </a:cubicBezTo>
                <a:cubicBezTo>
                  <a:pt x="5585177" y="1717106"/>
                  <a:pt x="5606763" y="1701978"/>
                  <a:pt x="5628289" y="1686910"/>
                </a:cubicBezTo>
                <a:cubicBezTo>
                  <a:pt x="5659334" y="1665178"/>
                  <a:pt x="5696085" y="1650644"/>
                  <a:pt x="5722882" y="1623848"/>
                </a:cubicBezTo>
                <a:lnTo>
                  <a:pt x="5754414" y="1592317"/>
                </a:lnTo>
                <a:cubicBezTo>
                  <a:pt x="5764924" y="1571296"/>
                  <a:pt x="5774285" y="1549660"/>
                  <a:pt x="5785945" y="1529255"/>
                </a:cubicBezTo>
                <a:cubicBezTo>
                  <a:pt x="5795346" y="1512804"/>
                  <a:pt x="5809002" y="1498906"/>
                  <a:pt x="5817476" y="1481958"/>
                </a:cubicBezTo>
                <a:cubicBezTo>
                  <a:pt x="5833214" y="1450481"/>
                  <a:pt x="5830885" y="1409956"/>
                  <a:pt x="5864772" y="1387365"/>
                </a:cubicBezTo>
                <a:cubicBezTo>
                  <a:pt x="5882801" y="1375346"/>
                  <a:pt x="5907080" y="1377826"/>
                  <a:pt x="5927834" y="1371600"/>
                </a:cubicBezTo>
                <a:cubicBezTo>
                  <a:pt x="5959669" y="1362049"/>
                  <a:pt x="5990896" y="1350578"/>
                  <a:pt x="6022427" y="1340068"/>
                </a:cubicBezTo>
                <a:cubicBezTo>
                  <a:pt x="6199433" y="1281066"/>
                  <a:pt x="6053199" y="1324939"/>
                  <a:pt x="6479627" y="1308537"/>
                </a:cubicBezTo>
                <a:cubicBezTo>
                  <a:pt x="6511158" y="1298027"/>
                  <a:pt x="6544492" y="1291870"/>
                  <a:pt x="6574220" y="1277006"/>
                </a:cubicBezTo>
                <a:cubicBezTo>
                  <a:pt x="6597722" y="1265255"/>
                  <a:pt x="6617643" y="1247167"/>
                  <a:pt x="6637282" y="1229710"/>
                </a:cubicBezTo>
                <a:cubicBezTo>
                  <a:pt x="6665056" y="1205022"/>
                  <a:pt x="6689834" y="1177158"/>
                  <a:pt x="6716110" y="1150882"/>
                </a:cubicBezTo>
                <a:cubicBezTo>
                  <a:pt x="6731876" y="1135117"/>
                  <a:pt x="6751040" y="1122137"/>
                  <a:pt x="6763407" y="1103586"/>
                </a:cubicBezTo>
                <a:cubicBezTo>
                  <a:pt x="6788360" y="1066156"/>
                  <a:pt x="6812903" y="1027446"/>
                  <a:pt x="6842234" y="993227"/>
                </a:cubicBezTo>
                <a:cubicBezTo>
                  <a:pt x="6953378" y="863559"/>
                  <a:pt x="6814189" y="1058943"/>
                  <a:pt x="6952593" y="851337"/>
                </a:cubicBezTo>
                <a:lnTo>
                  <a:pt x="6984124" y="804041"/>
                </a:lnTo>
                <a:cubicBezTo>
                  <a:pt x="7014752" y="712152"/>
                  <a:pt x="6992457" y="771608"/>
                  <a:pt x="7062951" y="630620"/>
                </a:cubicBezTo>
                <a:cubicBezTo>
                  <a:pt x="7070383" y="615756"/>
                  <a:pt x="7071285" y="598188"/>
                  <a:pt x="7078717" y="583324"/>
                </a:cubicBezTo>
                <a:cubicBezTo>
                  <a:pt x="7087191" y="566377"/>
                  <a:pt x="7101774" y="552974"/>
                  <a:pt x="7110248" y="536027"/>
                </a:cubicBezTo>
                <a:cubicBezTo>
                  <a:pt x="7175521" y="405483"/>
                  <a:pt x="7067181" y="576982"/>
                  <a:pt x="7157545" y="441434"/>
                </a:cubicBezTo>
                <a:cubicBezTo>
                  <a:pt x="7215035" y="268955"/>
                  <a:pt x="7123349" y="530197"/>
                  <a:pt x="7204841" y="346841"/>
                </a:cubicBezTo>
                <a:cubicBezTo>
                  <a:pt x="7218340" y="316469"/>
                  <a:pt x="7225862" y="283779"/>
                  <a:pt x="7236372" y="252248"/>
                </a:cubicBezTo>
                <a:lnTo>
                  <a:pt x="7252138" y="204951"/>
                </a:lnTo>
                <a:cubicBezTo>
                  <a:pt x="7288172" y="96848"/>
                  <a:pt x="7245624" y="231009"/>
                  <a:pt x="7283669" y="78827"/>
                </a:cubicBezTo>
                <a:cubicBezTo>
                  <a:pt x="7293410" y="39861"/>
                  <a:pt x="7298889" y="32621"/>
                  <a:pt x="7315200" y="0"/>
                </a:cubicBezTo>
              </a:path>
            </a:pathLst>
          </a:custGeom>
          <a:noFill/>
          <a:ln w="9842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mc:AlternateContent xmlns:mc="http://schemas.openxmlformats.org/markup-compatibility/2006" xmlns:p14="http://schemas.microsoft.com/office/powerpoint/2010/main">
        <mc:Choice Requires="p14">
          <p:contentPart p14:bwMode="auto" r:id="rId3">
            <p14:nvContentPartPr>
              <p14:cNvPr id="817154" name="Ink 2"/>
              <p14:cNvContentPartPr>
                <a14:cpLocks xmlns:a14="http://schemas.microsoft.com/office/drawing/2010/main" noRot="1" noChangeAspect="1" noEditPoints="1" noChangeArrowheads="1" noChangeShapeType="1"/>
              </p14:cNvContentPartPr>
              <p14:nvPr/>
            </p14:nvContentPartPr>
            <p14:xfrm>
              <a:off x="61604525" y="169662475"/>
              <a:ext cx="0" cy="0"/>
            </p14:xfrm>
          </p:contentPart>
        </mc:Choice>
        <mc:Fallback xmlns="">
          <p:pic>
            <p:nvPicPr>
              <p:cNvPr id="817154" name="Ink 2"/>
              <p:cNvPicPr>
                <a:picLocks noRot="1" noChangeAspect="1" noEditPoints="1" noChangeArrowheads="1" noChangeShapeType="1"/>
              </p:cNvPicPr>
              <p:nvPr/>
            </p:nvPicPr>
            <p:blipFill>
              <a:blip r:embed="rId4"/>
              <a:stretch>
                <a:fillRect/>
              </a:stretch>
            </p:blipFill>
            <p:spPr>
              <a:xfrm>
                <a:off x="61604525" y="169662475"/>
                <a:ext cx="0" cy="0"/>
              </a:xfrm>
              <a:prstGeom prst="rect">
                <a:avLst/>
              </a:prstGeom>
            </p:spPr>
          </p:pic>
        </mc:Fallback>
      </mc:AlternateContent>
      <p:pic>
        <p:nvPicPr>
          <p:cNvPr id="817155" name="Ink 3"/>
          <p:cNvPicPr>
            <a:picLocks noRot="1" noChangeAspect="1" noEditPoints="1" noChangeArrowheads="1" noChangeShapeType="1"/>
          </p:cNvPicPr>
          <p:nvPr/>
        </p:nvPicPr>
        <p:blipFill>
          <a:blip r:embed="rId5"/>
          <a:stretch>
            <a:fillRect/>
          </a:stretch>
        </p:blipFill>
        <p:spPr>
          <a:xfrm>
            <a:off x="2027251" y="7924800"/>
            <a:ext cx="84111" cy="42849"/>
          </a:xfrm>
          <a:prstGeom prst="rect">
            <a:avLst/>
          </a:prstGeom>
        </p:spPr>
      </p:pic>
      <mc:AlternateContent xmlns:mc="http://schemas.openxmlformats.org/markup-compatibility/2006" xmlns:p14="http://schemas.microsoft.com/office/powerpoint/2010/main">
        <mc:Choice Requires="p14">
          <p:contentPart p14:bwMode="auto" r:id="rId6">
            <p14:nvContentPartPr>
              <p14:cNvPr id="817156" name="Ink 4"/>
              <p14:cNvContentPartPr>
                <a14:cpLocks xmlns:a14="http://schemas.microsoft.com/office/drawing/2010/main" noRot="1" noChangeAspect="1" noEditPoints="1" noChangeArrowheads="1" noChangeShapeType="1"/>
              </p14:cNvContentPartPr>
              <p14:nvPr/>
            </p14:nvContentPartPr>
            <p14:xfrm>
              <a:off x="3233738" y="6011863"/>
              <a:ext cx="3894137" cy="3175000"/>
            </p14:xfrm>
          </p:contentPart>
        </mc:Choice>
        <mc:Fallback xmlns="">
          <p:pic>
            <p:nvPicPr>
              <p:cNvPr id="817156" name="Ink 4"/>
              <p:cNvPicPr>
                <a:picLocks noRot="1" noChangeAspect="1" noEditPoints="1" noChangeArrowheads="1" noChangeShapeType="1"/>
              </p:cNvPicPr>
              <p:nvPr/>
            </p:nvPicPr>
            <p:blipFill>
              <a:blip r:embed="rId7"/>
              <a:stretch>
                <a:fillRect/>
              </a:stretch>
            </p:blipFill>
            <p:spPr>
              <a:xfrm>
                <a:off x="3224379" y="6002504"/>
                <a:ext cx="3912855" cy="3193719"/>
              </a:xfrm>
              <a:prstGeom prst="rect">
                <a:avLst/>
              </a:prstGeom>
            </p:spPr>
          </p:pic>
        </mc:Fallback>
      </mc:AlternateContent>
      <p:sp>
        <p:nvSpPr>
          <p:cNvPr id="15" name="Footer Placeholder 4"/>
          <p:cNvSpPr>
            <a:spLocks noGrp="1"/>
          </p:cNvSpPr>
          <p:nvPr>
            <p:ph type="ftr" sz="quarter" idx="3"/>
          </p:nvPr>
        </p:nvSpPr>
        <p:spPr>
          <a:xfrm>
            <a:off x="-50800" y="9301156"/>
            <a:ext cx="8458199" cy="519112"/>
          </a:xfrm>
        </p:spPr>
        <p:txBody>
          <a:bodyPr/>
          <a:lstStyle/>
          <a:p>
            <a:r>
              <a:rPr lang="en-US" dirty="0"/>
              <a:t>©2017 copyright Employee Performance Solutions, LLC  All Rights Reserved | For Use Within Client Organization</a:t>
            </a:r>
          </a:p>
        </p:txBody>
      </p:sp>
      <p:sp>
        <p:nvSpPr>
          <p:cNvPr id="20" name="TextBox 19"/>
          <p:cNvSpPr txBox="1"/>
          <p:nvPr/>
        </p:nvSpPr>
        <p:spPr>
          <a:xfrm>
            <a:off x="8788401" y="1828800"/>
            <a:ext cx="4114799" cy="11549826"/>
          </a:xfrm>
          <a:prstGeom prst="rect">
            <a:avLst/>
          </a:prstGeom>
          <a:noFill/>
        </p:spPr>
        <p:txBody>
          <a:bodyPr wrap="square" lIns="130046" tIns="65023" rIns="130046" bIns="65023" rtlCol="0">
            <a:spAutoFit/>
          </a:bodyPr>
          <a:lstStyle/>
          <a:p>
            <a:pPr algn="l"/>
            <a:r>
              <a:rPr lang="en-US" sz="3200" dirty="0">
                <a:latin typeface="+mn-lt"/>
              </a:rPr>
              <a:t>The typical way to reflect our career history is on a resume or (list of positions, responsibilities, titles, and employment dates).   </a:t>
            </a:r>
          </a:p>
          <a:p>
            <a:pPr algn="l"/>
            <a:endParaRPr lang="en-US" sz="3200" dirty="0">
              <a:latin typeface="+mn-lt"/>
            </a:endParaRPr>
          </a:p>
          <a:p>
            <a:pPr algn="l"/>
            <a:r>
              <a:rPr lang="en-US" sz="3200" dirty="0">
                <a:latin typeface="+mn-lt"/>
              </a:rPr>
              <a:t>Instead of this "list view,"  we will reflect on and visually graph our work history and career.    </a:t>
            </a:r>
          </a:p>
          <a:p>
            <a:pPr algn="l"/>
            <a:endParaRPr lang="en-US" sz="3200" b="1" dirty="0">
              <a:solidFill>
                <a:srgbClr val="0080C0"/>
              </a:solidFill>
              <a:latin typeface="Calibri" pitchFamily="34" charset="0"/>
            </a:endParaRPr>
          </a:p>
          <a:p>
            <a:pPr algn="l"/>
            <a:br>
              <a:rPr lang="en-US" sz="3200" dirty="0">
                <a:solidFill>
                  <a:schemeClr val="tx1"/>
                </a:solidFill>
                <a:latin typeface="Calibri" pitchFamily="34" charset="0"/>
              </a:rPr>
            </a:br>
            <a:endParaRPr lang="en-US" sz="3200" dirty="0">
              <a:solidFill>
                <a:schemeClr val="tx1"/>
              </a:solidFill>
              <a:latin typeface="Calibri" pitchFamily="34" charset="0"/>
            </a:endParaRPr>
          </a:p>
          <a:p>
            <a:pPr algn="l"/>
            <a:r>
              <a:rPr lang="en-US" sz="2800" dirty="0">
                <a:solidFill>
                  <a:schemeClr val="bg1"/>
                </a:solidFill>
                <a:latin typeface="Calibri" pitchFamily="34" charset="0"/>
              </a:rPr>
              <a:t> </a:t>
            </a:r>
          </a:p>
          <a:p>
            <a:endParaRPr lang="en-US" sz="2800" b="1" dirty="0">
              <a:solidFill>
                <a:schemeClr val="bg1"/>
              </a:solidFill>
              <a:latin typeface="Calibri" pitchFamily="34" charset="0"/>
            </a:endParaRPr>
          </a:p>
          <a:p>
            <a:endParaRPr lang="en-US" b="1" dirty="0">
              <a:solidFill>
                <a:srgbClr val="0070C0"/>
              </a:solidFill>
              <a:latin typeface="Calibri" pitchFamily="34" charset="0"/>
            </a:endParaRPr>
          </a:p>
          <a:p>
            <a:endParaRPr lang="en-US" b="1" dirty="0">
              <a:solidFill>
                <a:srgbClr val="0070C0"/>
              </a:solidFill>
            </a:endParaRPr>
          </a:p>
          <a:p>
            <a:endParaRPr lang="en-US" b="1" dirty="0">
              <a:solidFill>
                <a:srgbClr val="0070C0"/>
              </a:solidFill>
            </a:endParaRPr>
          </a:p>
        </p:txBody>
      </p:sp>
      <p:grpSp>
        <p:nvGrpSpPr>
          <p:cNvPr id="2" name="Group 10">
            <a:extLst>
              <a:ext uri="{FF2B5EF4-FFF2-40B4-BE49-F238E27FC236}">
                <a16:creationId xmlns:a16="http://schemas.microsoft.com/office/drawing/2014/main" id="{10FB3700-F657-44EF-B90D-A880169A3143}"/>
              </a:ext>
            </a:extLst>
          </p:cNvPr>
          <p:cNvGrpSpPr/>
          <p:nvPr/>
        </p:nvGrpSpPr>
        <p:grpSpPr>
          <a:xfrm>
            <a:off x="9855200" y="9001780"/>
            <a:ext cx="2717800" cy="675620"/>
            <a:chOff x="11150600" y="7086600"/>
            <a:chExt cx="1270000" cy="675620"/>
          </a:xfrm>
        </p:grpSpPr>
        <p:pic>
          <p:nvPicPr>
            <p:cNvPr id="12" name="Picture 2">
              <a:extLst>
                <a:ext uri="{FF2B5EF4-FFF2-40B4-BE49-F238E27FC236}">
                  <a16:creationId xmlns:a16="http://schemas.microsoft.com/office/drawing/2014/main" id="{1CD91394-6DDA-4414-B3E1-2735EFEB72F5}"/>
                </a:ext>
              </a:extLst>
            </p:cNvPr>
            <p:cNvPicPr>
              <a:picLocks noChangeAspect="1" noChangeArrowheads="1"/>
            </p:cNvPicPr>
            <p:nvPr/>
          </p:nvPicPr>
          <p:blipFill>
            <a:blip r:embed="rId8"/>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7" name="TextBox 16">
              <a:extLst>
                <a:ext uri="{FF2B5EF4-FFF2-40B4-BE49-F238E27FC236}">
                  <a16:creationId xmlns:a16="http://schemas.microsoft.com/office/drawing/2014/main" id="{5ABAE520-06CC-432C-9D43-94D1511030FF}"/>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7 </a:t>
              </a:r>
            </a:p>
          </p:txBody>
        </p:sp>
      </p:grpSp>
    </p:spTree>
    <p:custDataLst>
      <p:tags r:id="rId1"/>
    </p:custDataLst>
    <p:extLst>
      <p:ext uri="{BB962C8B-B14F-4D97-AF65-F5344CB8AC3E}">
        <p14:creationId xmlns:p14="http://schemas.microsoft.com/office/powerpoint/2010/main" val="3747171607"/>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0693400" y="9110133"/>
            <a:ext cx="3034453" cy="677333"/>
          </a:xfrm>
        </p:spPr>
        <p:txBody>
          <a:bodyPr/>
          <a:lstStyle/>
          <a:p>
            <a:pPr>
              <a:defRPr/>
            </a:pPr>
            <a:fld id="{7C0A6E37-841E-4E23-95AD-DF9C80D768D7}" type="slidenum">
              <a:rPr lang="en-US" smtClean="0">
                <a:solidFill>
                  <a:prstClr val="black"/>
                </a:solidFill>
              </a:rPr>
              <a:pPr>
                <a:defRPr/>
              </a:pPr>
              <a:t>60</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graphicFrame>
        <p:nvGraphicFramePr>
          <p:cNvPr id="7" name="Diagram 6"/>
          <p:cNvGraphicFramePr/>
          <p:nvPr/>
        </p:nvGraphicFramePr>
        <p:xfrm>
          <a:off x="1244600" y="1752600"/>
          <a:ext cx="10668000" cy="731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1244600" y="1752600"/>
            <a:ext cx="10363200" cy="1569660"/>
          </a:xfrm>
          <a:prstGeom prst="rect">
            <a:avLst/>
          </a:prstGeom>
        </p:spPr>
        <p:txBody>
          <a:bodyPr wrap="square">
            <a:spAutoFit/>
          </a:bodyPr>
          <a:lstStyle/>
          <a:p>
            <a:pPr algn="l"/>
            <a:r>
              <a:rPr lang="en-US" sz="3200" dirty="0">
                <a:solidFill>
                  <a:srgbClr val="008080"/>
                </a:solidFill>
                <a:latin typeface="+mn-lt"/>
              </a:rPr>
              <a:t>Key work relationships (others) are another source.  People we work with regularly, might have new insights that are helpful to our performance and even our career.</a:t>
            </a:r>
          </a:p>
        </p:txBody>
      </p:sp>
      <p:sp>
        <p:nvSpPr>
          <p:cNvPr id="13" name="Title 9"/>
          <p:cNvSpPr>
            <a:spLocks noGrp="1"/>
          </p:cNvSpPr>
          <p:nvPr>
            <p:ph type="title"/>
          </p:nvPr>
        </p:nvSpPr>
        <p:spPr>
          <a:xfrm>
            <a:off x="0" y="127000"/>
            <a:ext cx="12750800" cy="1625600"/>
          </a:xfrm>
        </p:spPr>
        <p:txBody>
          <a:bodyPr>
            <a:normAutofit/>
          </a:bodyPr>
          <a:lstStyle/>
          <a:p>
            <a:r>
              <a:rPr lang="en-US" sz="4400" b="1" dirty="0"/>
              <a:t>Peer Conversations:  Your Network</a:t>
            </a:r>
            <a:endParaRPr lang="en-US" sz="9600" dirty="0"/>
          </a:p>
        </p:txBody>
      </p:sp>
    </p:spTree>
    <p:custDataLst>
      <p:tags r:id="rId1"/>
    </p:custDataLst>
  </p:cSld>
  <p:clrMapOvr>
    <a:masterClrMapping/>
  </p:clrMapOvr>
  <p:transition spd="slow">
    <p:random/>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1" name="Rectangle 3"/>
          <p:cNvSpPr>
            <a:spLocks noChangeArrowheads="1"/>
          </p:cNvSpPr>
          <p:nvPr/>
        </p:nvSpPr>
        <p:spPr bwMode="auto">
          <a:xfrm>
            <a:off x="0" y="0"/>
            <a:ext cx="13004800" cy="9677400"/>
          </a:xfrm>
          <a:prstGeom prst="rect">
            <a:avLst/>
          </a:prstGeom>
          <a:gradFill flip="none" rotWithShape="1">
            <a:gsLst>
              <a:gs pos="28000">
                <a:srgbClr val="69DBFF"/>
              </a:gs>
              <a:gs pos="21000">
                <a:srgbClr val="9BE7FF"/>
              </a:gs>
              <a:gs pos="70000">
                <a:srgbClr val="92D8F2">
                  <a:tint val="44500"/>
                  <a:satMod val="160000"/>
                </a:srgbClr>
              </a:gs>
              <a:gs pos="100000">
                <a:srgbClr val="92D8F2">
                  <a:tint val="23500"/>
                  <a:satMod val="160000"/>
                </a:srgbClr>
              </a:gs>
            </a:gsLst>
            <a:lin ang="8400000" scaled="0"/>
            <a:tileRect/>
          </a:gradFill>
          <a:ln w="9525" algn="in">
            <a:no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1</a:t>
            </a:fld>
            <a:endParaRPr lang="en-US" dirty="0">
              <a:solidFill>
                <a:prstClr val="black"/>
              </a:solidFill>
            </a:endParaRPr>
          </a:p>
        </p:txBody>
      </p:sp>
      <p:sp>
        <p:nvSpPr>
          <p:cNvPr id="5" name="Footer Placeholder 4"/>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grpSp>
        <p:nvGrpSpPr>
          <p:cNvPr id="61" name="Group 60"/>
          <p:cNvGrpSpPr/>
          <p:nvPr/>
        </p:nvGrpSpPr>
        <p:grpSpPr>
          <a:xfrm>
            <a:off x="1320800" y="76200"/>
            <a:ext cx="10363200" cy="2362200"/>
            <a:chOff x="1320800" y="914400"/>
            <a:chExt cx="10363200" cy="2362200"/>
          </a:xfrm>
        </p:grpSpPr>
        <p:grpSp>
          <p:nvGrpSpPr>
            <p:cNvPr id="58" name="Group 57"/>
            <p:cNvGrpSpPr/>
            <p:nvPr/>
          </p:nvGrpSpPr>
          <p:grpSpPr>
            <a:xfrm>
              <a:off x="8483600" y="1600200"/>
              <a:ext cx="3200400" cy="1676400"/>
              <a:chOff x="9169400" y="1905000"/>
              <a:chExt cx="3200400" cy="1676400"/>
            </a:xfrm>
          </p:grpSpPr>
          <p:sp>
            <p:nvSpPr>
              <p:cNvPr id="10" name="Rounded Rectangular Callout 9"/>
              <p:cNvSpPr/>
              <p:nvPr/>
            </p:nvSpPr>
            <p:spPr bwMode="auto">
              <a:xfrm>
                <a:off x="9169400" y="1905000"/>
                <a:ext cx="2438400" cy="1066800"/>
              </a:xfrm>
              <a:prstGeom prst="wedgeRoundRectCallout">
                <a:avLst>
                  <a:gd name="adj1" fmla="val -5208"/>
                  <a:gd name="adj2" fmla="val 135120"/>
                  <a:gd name="adj3" fmla="val 16667"/>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nvGrpSpPr>
              <p:cNvPr id="23" name="Group 22"/>
              <p:cNvGrpSpPr/>
              <p:nvPr/>
            </p:nvGrpSpPr>
            <p:grpSpPr>
              <a:xfrm>
                <a:off x="9702800" y="2286000"/>
                <a:ext cx="1295400" cy="304800"/>
                <a:chOff x="1397000" y="1371600"/>
                <a:chExt cx="1295400" cy="304800"/>
              </a:xfrm>
            </p:grpSpPr>
            <p:sp>
              <p:nvSpPr>
                <p:cNvPr id="24" name="Oval 23"/>
                <p:cNvSpPr/>
                <p:nvPr/>
              </p:nvSpPr>
              <p:spPr bwMode="auto">
                <a:xfrm>
                  <a:off x="13970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5" name="Oval 24"/>
                <p:cNvSpPr/>
                <p:nvPr/>
              </p:nvSpPr>
              <p:spPr bwMode="auto">
                <a:xfrm>
                  <a:off x="18923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6" name="Oval 25"/>
                <p:cNvSpPr/>
                <p:nvPr/>
              </p:nvSpPr>
              <p:spPr bwMode="auto">
                <a:xfrm>
                  <a:off x="23876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57" name="Group 56"/>
              <p:cNvGrpSpPr/>
              <p:nvPr/>
            </p:nvGrpSpPr>
            <p:grpSpPr>
              <a:xfrm>
                <a:off x="11074400" y="2819400"/>
                <a:ext cx="1295400" cy="762000"/>
                <a:chOff x="11074400" y="2819400"/>
                <a:chExt cx="1295400" cy="762000"/>
              </a:xfrm>
            </p:grpSpPr>
            <p:sp>
              <p:nvSpPr>
                <p:cNvPr id="11" name="Rounded Rectangular Callout 10"/>
                <p:cNvSpPr/>
                <p:nvPr/>
              </p:nvSpPr>
              <p:spPr bwMode="auto">
                <a:xfrm>
                  <a:off x="11074400" y="2819400"/>
                  <a:ext cx="1295400" cy="762000"/>
                </a:xfrm>
                <a:prstGeom prst="wedgeRoundRectCallout">
                  <a:avLst>
                    <a:gd name="adj1" fmla="val 45650"/>
                    <a:gd name="adj2" fmla="val 93215"/>
                    <a:gd name="adj3" fmla="val 16667"/>
                  </a:avLst>
                </a:prstGeom>
                <a:gradFill flip="none" rotWithShape="1">
                  <a:gsLst>
                    <a:gs pos="0">
                      <a:srgbClr val="FFC000"/>
                    </a:gs>
                    <a:gs pos="50000">
                      <a:srgbClr val="FF9900">
                        <a:shade val="67500"/>
                        <a:satMod val="115000"/>
                      </a:srgbClr>
                    </a:gs>
                    <a:gs pos="100000">
                      <a:srgbClr val="FF9900">
                        <a:shade val="100000"/>
                        <a:satMod val="115000"/>
                      </a:srgbClr>
                    </a:gs>
                  </a:gsLst>
                  <a:lin ang="27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nvGrpSpPr>
                <p:cNvPr id="31" name="Group 30"/>
                <p:cNvGrpSpPr/>
                <p:nvPr/>
              </p:nvGrpSpPr>
              <p:grpSpPr>
                <a:xfrm>
                  <a:off x="11226800" y="3048000"/>
                  <a:ext cx="990600" cy="228600"/>
                  <a:chOff x="1297354" y="3098800"/>
                  <a:chExt cx="1295400" cy="304800"/>
                </a:xfrm>
                <a:solidFill>
                  <a:schemeClr val="bg1"/>
                </a:solidFill>
              </p:grpSpPr>
              <p:sp>
                <p:nvSpPr>
                  <p:cNvPr id="32" name="Oval 31"/>
                  <p:cNvSpPr/>
                  <p:nvPr/>
                </p:nvSpPr>
                <p:spPr bwMode="auto">
                  <a:xfrm>
                    <a:off x="1297354" y="30988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3" name="Oval 32"/>
                  <p:cNvSpPr/>
                  <p:nvPr/>
                </p:nvSpPr>
                <p:spPr bwMode="auto">
                  <a:xfrm>
                    <a:off x="1792654" y="30988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Oval 33"/>
                  <p:cNvSpPr/>
                  <p:nvPr/>
                </p:nvSpPr>
                <p:spPr bwMode="auto">
                  <a:xfrm>
                    <a:off x="2287954" y="30988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grpSp>
        <p:grpSp>
          <p:nvGrpSpPr>
            <p:cNvPr id="59" name="Group 58"/>
            <p:cNvGrpSpPr/>
            <p:nvPr/>
          </p:nvGrpSpPr>
          <p:grpSpPr>
            <a:xfrm>
              <a:off x="5207000" y="914400"/>
              <a:ext cx="3124200" cy="1676400"/>
              <a:chOff x="5207000" y="914400"/>
              <a:chExt cx="3124200" cy="1676400"/>
            </a:xfrm>
          </p:grpSpPr>
          <p:grpSp>
            <p:nvGrpSpPr>
              <p:cNvPr id="46" name="Group 45"/>
              <p:cNvGrpSpPr/>
              <p:nvPr/>
            </p:nvGrpSpPr>
            <p:grpSpPr>
              <a:xfrm>
                <a:off x="5207000" y="914400"/>
                <a:ext cx="2438400" cy="1066800"/>
                <a:chOff x="6273800" y="685800"/>
                <a:chExt cx="2438400" cy="1066800"/>
              </a:xfrm>
            </p:grpSpPr>
            <p:sp>
              <p:nvSpPr>
                <p:cNvPr id="8" name="Rounded Rectangular Callout 7"/>
                <p:cNvSpPr/>
                <p:nvPr/>
              </p:nvSpPr>
              <p:spPr bwMode="auto">
                <a:xfrm>
                  <a:off x="6273800" y="685800"/>
                  <a:ext cx="2438400" cy="1066800"/>
                </a:xfrm>
                <a:prstGeom prst="wedgeRoundRectCallout">
                  <a:avLst>
                    <a:gd name="adj1" fmla="val -36979"/>
                    <a:gd name="adj2" fmla="val 126787"/>
                    <a:gd name="adj3" fmla="val 16667"/>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nvGrpSpPr>
                <p:cNvPr id="19" name="Group 18"/>
                <p:cNvGrpSpPr/>
                <p:nvPr/>
              </p:nvGrpSpPr>
              <p:grpSpPr>
                <a:xfrm>
                  <a:off x="6883400" y="1066800"/>
                  <a:ext cx="1295400" cy="304800"/>
                  <a:chOff x="1397000" y="1371600"/>
                  <a:chExt cx="1295400" cy="304800"/>
                </a:xfrm>
              </p:grpSpPr>
              <p:sp>
                <p:nvSpPr>
                  <p:cNvPr id="20" name="Oval 19"/>
                  <p:cNvSpPr/>
                  <p:nvPr/>
                </p:nvSpPr>
                <p:spPr bwMode="auto">
                  <a:xfrm>
                    <a:off x="13970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1" name="Oval 20"/>
                  <p:cNvSpPr/>
                  <p:nvPr/>
                </p:nvSpPr>
                <p:spPr bwMode="auto">
                  <a:xfrm>
                    <a:off x="18923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2" name="Oval 21"/>
                  <p:cNvSpPr/>
                  <p:nvPr/>
                </p:nvSpPr>
                <p:spPr bwMode="auto">
                  <a:xfrm>
                    <a:off x="23876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grpSp>
            <p:nvGrpSpPr>
              <p:cNvPr id="56" name="Group 55"/>
              <p:cNvGrpSpPr/>
              <p:nvPr/>
            </p:nvGrpSpPr>
            <p:grpSpPr>
              <a:xfrm>
                <a:off x="7035800" y="1828800"/>
                <a:ext cx="1295400" cy="762000"/>
                <a:chOff x="7035800" y="1828800"/>
                <a:chExt cx="1295400" cy="762000"/>
              </a:xfrm>
            </p:grpSpPr>
            <p:sp>
              <p:nvSpPr>
                <p:cNvPr id="12" name="Rounded Rectangular Callout 11"/>
                <p:cNvSpPr/>
                <p:nvPr/>
              </p:nvSpPr>
              <p:spPr bwMode="auto">
                <a:xfrm>
                  <a:off x="7035800" y="1828800"/>
                  <a:ext cx="1295400" cy="762000"/>
                </a:xfrm>
                <a:prstGeom prst="wedgeRoundRectCallout">
                  <a:avLst>
                    <a:gd name="adj1" fmla="val -35723"/>
                    <a:gd name="adj2" fmla="val 108215"/>
                    <a:gd name="adj3" fmla="val 16667"/>
                  </a:avLst>
                </a:prstGeom>
                <a:gradFill flip="none" rotWithShape="1">
                  <a:gsLst>
                    <a:gs pos="0">
                      <a:srgbClr val="FFC000"/>
                    </a:gs>
                    <a:gs pos="50000">
                      <a:srgbClr val="FF9900">
                        <a:shade val="67500"/>
                        <a:satMod val="115000"/>
                      </a:srgbClr>
                    </a:gs>
                    <a:gs pos="100000">
                      <a:srgbClr val="FF9900">
                        <a:shade val="100000"/>
                        <a:satMod val="115000"/>
                      </a:srgbClr>
                    </a:gs>
                  </a:gsLst>
                  <a:lin ang="27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nvGrpSpPr>
                <p:cNvPr id="54" name="Group 53"/>
                <p:cNvGrpSpPr/>
                <p:nvPr/>
              </p:nvGrpSpPr>
              <p:grpSpPr>
                <a:xfrm>
                  <a:off x="7188200" y="2057400"/>
                  <a:ext cx="990600" cy="228600"/>
                  <a:chOff x="7497482" y="3505200"/>
                  <a:chExt cx="990600" cy="228600"/>
                </a:xfrm>
              </p:grpSpPr>
              <p:sp>
                <p:nvSpPr>
                  <p:cNvPr id="36" name="Oval 35"/>
                  <p:cNvSpPr/>
                  <p:nvPr/>
                </p:nvSpPr>
                <p:spPr bwMode="auto">
                  <a:xfrm>
                    <a:off x="7497482" y="3505200"/>
                    <a:ext cx="233082" cy="228600"/>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7" name="Oval 36"/>
                  <p:cNvSpPr/>
                  <p:nvPr/>
                </p:nvSpPr>
                <p:spPr bwMode="auto">
                  <a:xfrm>
                    <a:off x="7876241" y="3505200"/>
                    <a:ext cx="233082" cy="228600"/>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Oval 37"/>
                  <p:cNvSpPr/>
                  <p:nvPr/>
                </p:nvSpPr>
                <p:spPr bwMode="auto">
                  <a:xfrm>
                    <a:off x="8255000" y="3505200"/>
                    <a:ext cx="233082" cy="228600"/>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grpSp>
        <p:grpSp>
          <p:nvGrpSpPr>
            <p:cNvPr id="60" name="Group 59"/>
            <p:cNvGrpSpPr/>
            <p:nvPr/>
          </p:nvGrpSpPr>
          <p:grpSpPr>
            <a:xfrm>
              <a:off x="1320800" y="1371600"/>
              <a:ext cx="3810000" cy="1905000"/>
              <a:chOff x="863600" y="990600"/>
              <a:chExt cx="3810000" cy="1905000"/>
            </a:xfrm>
          </p:grpSpPr>
          <p:sp>
            <p:nvSpPr>
              <p:cNvPr id="7" name="Rounded Rectangular Callout 6"/>
              <p:cNvSpPr/>
              <p:nvPr/>
            </p:nvSpPr>
            <p:spPr bwMode="auto">
              <a:xfrm>
                <a:off x="863600" y="990600"/>
                <a:ext cx="2438400" cy="1066800"/>
              </a:xfrm>
              <a:prstGeom prst="wedgeRoundRectCallout">
                <a:avLst>
                  <a:gd name="adj1" fmla="val -36979"/>
                  <a:gd name="adj2" fmla="val 122024"/>
                  <a:gd name="adj3" fmla="val 16667"/>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nvGrpSpPr>
              <p:cNvPr id="18" name="Group 17"/>
              <p:cNvGrpSpPr/>
              <p:nvPr/>
            </p:nvGrpSpPr>
            <p:grpSpPr>
              <a:xfrm>
                <a:off x="1397000" y="1371600"/>
                <a:ext cx="1295400" cy="304800"/>
                <a:chOff x="1397000" y="1371600"/>
                <a:chExt cx="1295400" cy="304800"/>
              </a:xfrm>
            </p:grpSpPr>
            <p:sp>
              <p:nvSpPr>
                <p:cNvPr id="15" name="Oval 14"/>
                <p:cNvSpPr/>
                <p:nvPr/>
              </p:nvSpPr>
              <p:spPr bwMode="auto">
                <a:xfrm>
                  <a:off x="13970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Oval 15"/>
                <p:cNvSpPr/>
                <p:nvPr/>
              </p:nvSpPr>
              <p:spPr bwMode="auto">
                <a:xfrm>
                  <a:off x="18923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7" name="Oval 16"/>
                <p:cNvSpPr/>
                <p:nvPr/>
              </p:nvSpPr>
              <p:spPr bwMode="auto">
                <a:xfrm>
                  <a:off x="2387600" y="1371600"/>
                  <a:ext cx="304800" cy="304800"/>
                </a:xfrm>
                <a:prstGeom prst="ellipse">
                  <a:avLst/>
                </a:prstGeom>
                <a:solidFill>
                  <a:srgbClr val="FF990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nvGrpSpPr>
              <p:cNvPr id="43" name="Group 42"/>
              <p:cNvGrpSpPr/>
              <p:nvPr/>
            </p:nvGrpSpPr>
            <p:grpSpPr>
              <a:xfrm>
                <a:off x="2997200" y="1981200"/>
                <a:ext cx="1676400" cy="914400"/>
                <a:chOff x="3302000" y="1981200"/>
                <a:chExt cx="1676400" cy="914400"/>
              </a:xfrm>
            </p:grpSpPr>
            <p:sp>
              <p:nvSpPr>
                <p:cNvPr id="9" name="Rounded Rectangular Callout 8"/>
                <p:cNvSpPr/>
                <p:nvPr/>
              </p:nvSpPr>
              <p:spPr bwMode="auto">
                <a:xfrm>
                  <a:off x="3302000" y="1981200"/>
                  <a:ext cx="1676400" cy="914400"/>
                </a:xfrm>
                <a:prstGeom prst="wedgeRoundRectCallout">
                  <a:avLst>
                    <a:gd name="adj1" fmla="val -26894"/>
                    <a:gd name="adj2" fmla="val 97025"/>
                    <a:gd name="adj3" fmla="val 16667"/>
                  </a:avLst>
                </a:prstGeom>
                <a:gradFill flip="none" rotWithShape="1">
                  <a:gsLst>
                    <a:gs pos="0">
                      <a:srgbClr val="FFC000"/>
                    </a:gs>
                    <a:gs pos="50000">
                      <a:srgbClr val="FF9900">
                        <a:shade val="67500"/>
                        <a:satMod val="115000"/>
                      </a:srgbClr>
                    </a:gs>
                    <a:gs pos="100000">
                      <a:srgbClr val="FF9900">
                        <a:shade val="100000"/>
                        <a:satMod val="115000"/>
                      </a:srgbClr>
                    </a:gs>
                  </a:gsLst>
                  <a:lin ang="27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nvGrpSpPr>
                <p:cNvPr id="39" name="Group 38"/>
                <p:cNvGrpSpPr/>
                <p:nvPr/>
              </p:nvGrpSpPr>
              <p:grpSpPr>
                <a:xfrm>
                  <a:off x="3606800" y="2286000"/>
                  <a:ext cx="990600" cy="228600"/>
                  <a:chOff x="1397000" y="1371600"/>
                  <a:chExt cx="1295400" cy="304800"/>
                </a:xfrm>
                <a:solidFill>
                  <a:schemeClr val="bg1"/>
                </a:solidFill>
              </p:grpSpPr>
              <p:sp>
                <p:nvSpPr>
                  <p:cNvPr id="40" name="Oval 39"/>
                  <p:cNvSpPr/>
                  <p:nvPr/>
                </p:nvSpPr>
                <p:spPr bwMode="auto">
                  <a:xfrm>
                    <a:off x="1397000" y="13716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1" name="Oval 40"/>
                  <p:cNvSpPr/>
                  <p:nvPr/>
                </p:nvSpPr>
                <p:spPr bwMode="auto">
                  <a:xfrm>
                    <a:off x="1892300" y="13716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2" name="Oval 41"/>
                  <p:cNvSpPr/>
                  <p:nvPr/>
                </p:nvSpPr>
                <p:spPr bwMode="auto">
                  <a:xfrm>
                    <a:off x="2387600" y="1371600"/>
                    <a:ext cx="304800" cy="304800"/>
                  </a:xfrm>
                  <a:prstGeom prst="ellipse">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grpSp>
        </p:grpSp>
      </p:grpSp>
      <p:sp>
        <p:nvSpPr>
          <p:cNvPr id="62" name="TextBox 61"/>
          <p:cNvSpPr txBox="1"/>
          <p:nvPr/>
        </p:nvSpPr>
        <p:spPr>
          <a:xfrm>
            <a:off x="1016000" y="3180338"/>
            <a:ext cx="11582400" cy="6801862"/>
          </a:xfrm>
          <a:prstGeom prst="rect">
            <a:avLst/>
          </a:prstGeom>
          <a:noFill/>
        </p:spPr>
        <p:txBody>
          <a:bodyPr wrap="square" rtlCol="0">
            <a:spAutoFit/>
          </a:bodyPr>
          <a:lstStyle/>
          <a:p>
            <a:pPr algn="l"/>
            <a:r>
              <a:rPr lang="en-US" sz="4400" b="1" dirty="0">
                <a:latin typeface="+mn-lt"/>
              </a:rPr>
              <a:t>Common Work Communications Include:</a:t>
            </a:r>
            <a:br>
              <a:rPr lang="en-US" sz="4400" b="1" dirty="0">
                <a:latin typeface="+mn-lt"/>
              </a:rPr>
            </a:br>
            <a:r>
              <a:rPr lang="en-US" sz="3200" b="1" dirty="0">
                <a:latin typeface="+mn-lt"/>
              </a:rPr>
              <a:t>   </a:t>
            </a:r>
          </a:p>
          <a:p>
            <a:pPr algn="l">
              <a:buFont typeface="Arial" pitchFamily="34" charset="0"/>
              <a:buChar char="•"/>
            </a:pPr>
            <a:r>
              <a:rPr lang="en-US" sz="3200" b="1" dirty="0">
                <a:latin typeface="+mn-lt"/>
              </a:rPr>
              <a:t>Discussing:</a:t>
            </a:r>
          </a:p>
          <a:p>
            <a:pPr lvl="2" algn="l">
              <a:buFont typeface="Arial" pitchFamily="34" charset="0"/>
              <a:buChar char="•"/>
            </a:pPr>
            <a:r>
              <a:rPr lang="en-US" sz="2800" dirty="0">
                <a:latin typeface="+mn-lt"/>
              </a:rPr>
              <a:t>Project Status </a:t>
            </a:r>
          </a:p>
          <a:p>
            <a:pPr lvl="2" algn="l">
              <a:buFont typeface="Arial" pitchFamily="34" charset="0"/>
              <a:buChar char="•"/>
            </a:pPr>
            <a:r>
              <a:rPr lang="en-US" sz="2800" dirty="0">
                <a:latin typeface="+mn-lt"/>
              </a:rPr>
              <a:t>Work Responsibilities</a:t>
            </a:r>
          </a:p>
          <a:p>
            <a:pPr lvl="2" algn="l">
              <a:buFont typeface="Arial" pitchFamily="34" charset="0"/>
              <a:buChar char="•"/>
            </a:pPr>
            <a:r>
              <a:rPr lang="en-US" sz="2800" dirty="0">
                <a:latin typeface="+mn-lt"/>
              </a:rPr>
              <a:t>Deliverables</a:t>
            </a:r>
          </a:p>
          <a:p>
            <a:pPr lvl="2" algn="l">
              <a:buFont typeface="Arial" pitchFamily="34" charset="0"/>
              <a:buChar char="•"/>
            </a:pPr>
            <a:r>
              <a:rPr lang="en-US" sz="2800" dirty="0">
                <a:latin typeface="+mn-lt"/>
              </a:rPr>
              <a:t>Working meetings</a:t>
            </a:r>
          </a:p>
          <a:p>
            <a:pPr lvl="2" algn="l">
              <a:buFont typeface="Arial" pitchFamily="34" charset="0"/>
              <a:buChar char="•"/>
            </a:pPr>
            <a:r>
              <a:rPr lang="en-US" sz="2800" dirty="0">
                <a:latin typeface="+mn-lt"/>
              </a:rPr>
              <a:t>Challenges</a:t>
            </a:r>
          </a:p>
          <a:p>
            <a:pPr algn="l">
              <a:buFont typeface="Arial" pitchFamily="34" charset="0"/>
              <a:buChar char="•"/>
            </a:pPr>
            <a:r>
              <a:rPr lang="en-US" sz="3200" b="1" dirty="0">
                <a:latin typeface="+mn-lt"/>
              </a:rPr>
              <a:t>Team and 1 to 1 meetings</a:t>
            </a:r>
          </a:p>
          <a:p>
            <a:pPr algn="l">
              <a:buFont typeface="Arial" pitchFamily="34" charset="0"/>
              <a:buChar char="•"/>
            </a:pPr>
            <a:r>
              <a:rPr lang="en-US" sz="3200" b="1" dirty="0">
                <a:latin typeface="+mn-lt"/>
              </a:rPr>
              <a:t>Social Interactions:</a:t>
            </a:r>
          </a:p>
          <a:p>
            <a:pPr lvl="1" algn="l">
              <a:buFont typeface="Arial" pitchFamily="34" charset="0"/>
              <a:buChar char="•"/>
            </a:pPr>
            <a:r>
              <a:rPr lang="en-US" sz="2800" dirty="0">
                <a:latin typeface="+mn-lt"/>
              </a:rPr>
              <a:t>How was your weekend?</a:t>
            </a:r>
          </a:p>
          <a:p>
            <a:pPr lvl="1" algn="l">
              <a:buFont typeface="Arial" pitchFamily="34" charset="0"/>
              <a:buChar char="•"/>
            </a:pPr>
            <a:r>
              <a:rPr lang="en-US" sz="2800" dirty="0">
                <a:latin typeface="+mn-lt"/>
              </a:rPr>
              <a:t>How are you doing?</a:t>
            </a:r>
          </a:p>
          <a:p>
            <a:pPr algn="l">
              <a:buFont typeface="Arial" pitchFamily="34" charset="0"/>
              <a:buChar char="•"/>
            </a:pPr>
            <a:r>
              <a:rPr lang="en-US" sz="3200" b="1" dirty="0">
                <a:latin typeface="+mn-lt"/>
              </a:rPr>
              <a:t>Etc.</a:t>
            </a:r>
          </a:p>
          <a:p>
            <a:pPr lvl="1" algn="l"/>
            <a:endParaRPr lang="en-US" sz="3200" dirty="0">
              <a:latin typeface="+mn-lt"/>
            </a:endParaRPr>
          </a:p>
        </p:txBody>
      </p:sp>
    </p:spTree>
    <p:custDataLst>
      <p:tags r:id="rId1"/>
    </p:custDataLst>
    <p:extLst>
      <p:ext uri="{BB962C8B-B14F-4D97-AF65-F5344CB8AC3E}">
        <p14:creationId xmlns:p14="http://schemas.microsoft.com/office/powerpoint/2010/main" val="2571842474"/>
      </p:ext>
    </p:extLst>
  </p:cSld>
  <p:clrMapOvr>
    <a:masterClrMapping/>
  </p:clrMapOvr>
  <p:transition spd="slow">
    <p:random/>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52876" y="-76200"/>
            <a:ext cx="11212124" cy="1180817"/>
          </a:xfrm>
        </p:spPr>
        <p:txBody>
          <a:bodyPr/>
          <a:lstStyle/>
          <a:p>
            <a:r>
              <a:rPr lang="en-US" sz="6600" b="1" dirty="0">
                <a:solidFill>
                  <a:srgbClr val="0080C0"/>
                </a:solidFill>
              </a:rPr>
              <a:t>Workplace Conversations</a:t>
            </a:r>
          </a:p>
        </p:txBody>
      </p:sp>
      <p:sp>
        <p:nvSpPr>
          <p:cNvPr id="3" name="Slide Number Placeholder 2"/>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2</a:t>
            </a:fld>
            <a:endParaRPr lang="en-US" dirty="0">
              <a:solidFill>
                <a:prstClr val="black"/>
              </a:solidFill>
            </a:endParaRPr>
          </a:p>
        </p:txBody>
      </p:sp>
      <p:graphicFrame>
        <p:nvGraphicFramePr>
          <p:cNvPr id="8" name="Diagram 7"/>
          <p:cNvGraphicFramePr/>
          <p:nvPr/>
        </p:nvGraphicFramePr>
        <p:xfrm>
          <a:off x="-660400" y="838200"/>
          <a:ext cx="14401800" cy="9220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657466660"/>
      </p:ext>
    </p:extLst>
  </p:cSld>
  <p:clrMapOvr>
    <a:masterClrMapping/>
  </p:clrMapOvr>
  <p:transition spd="slow">
    <p:random/>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3</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p:spPr>
        <p:txBody>
          <a:bodyPr/>
          <a:lstStyle/>
          <a:p>
            <a:r>
              <a:rPr lang="en-US" dirty="0"/>
              <a:t>©2017 copyright Employee Performance Solutions, LLC  All Rights Reserved | For Use Within Client Organization</a:t>
            </a:r>
          </a:p>
        </p:txBody>
      </p:sp>
      <p:graphicFrame>
        <p:nvGraphicFramePr>
          <p:cNvPr id="8" name="Chart 7"/>
          <p:cNvGraphicFramePr/>
          <p:nvPr/>
        </p:nvGraphicFramePr>
        <p:xfrm>
          <a:off x="1016000" y="762000"/>
          <a:ext cx="11988800" cy="89916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3835400" y="5181600"/>
            <a:ext cx="6781800" cy="3139321"/>
          </a:xfrm>
          <a:prstGeom prst="rect">
            <a:avLst/>
          </a:prstGeom>
          <a:noFill/>
        </p:spPr>
        <p:txBody>
          <a:bodyPr wrap="square" rtlCol="0">
            <a:spAutoFit/>
          </a:bodyPr>
          <a:lstStyle/>
          <a:p>
            <a:r>
              <a:rPr lang="en-US" sz="6600" b="1" dirty="0">
                <a:solidFill>
                  <a:schemeClr val="bg1"/>
                </a:solidFill>
                <a:latin typeface="Leelawadee" pitchFamily="34" charset="-34"/>
                <a:cs typeface="Leelawadee" pitchFamily="34" charset="-34"/>
              </a:rPr>
              <a:t>Forms and Process Focused on the Past</a:t>
            </a:r>
          </a:p>
        </p:txBody>
      </p:sp>
      <p:sp>
        <p:nvSpPr>
          <p:cNvPr id="11" name="TextBox 10"/>
          <p:cNvSpPr txBox="1"/>
          <p:nvPr/>
        </p:nvSpPr>
        <p:spPr>
          <a:xfrm>
            <a:off x="2159000" y="1752600"/>
            <a:ext cx="6781800" cy="584775"/>
          </a:xfrm>
          <a:prstGeom prst="rect">
            <a:avLst/>
          </a:prstGeom>
          <a:noFill/>
        </p:spPr>
        <p:txBody>
          <a:bodyPr wrap="square" rtlCol="0">
            <a:spAutoFit/>
          </a:bodyPr>
          <a:lstStyle/>
          <a:p>
            <a:r>
              <a:rPr lang="en-US" sz="3200" b="1" dirty="0">
                <a:solidFill>
                  <a:srgbClr val="30C5C2"/>
                </a:solidFill>
                <a:latin typeface="Leelawadee" pitchFamily="34" charset="-34"/>
                <a:cs typeface="Leelawadee" pitchFamily="34" charset="-34"/>
              </a:rPr>
              <a:t>Conversation</a:t>
            </a:r>
          </a:p>
        </p:txBody>
      </p:sp>
      <p:pic>
        <p:nvPicPr>
          <p:cNvPr id="12" name="Picture 2"/>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5207000" y="2514600"/>
            <a:ext cx="1554892" cy="1505036"/>
          </a:xfrm>
          <a:prstGeom prst="rect">
            <a:avLst/>
          </a:prstGeom>
          <a:noFill/>
          <a:ln w="9525">
            <a:noFill/>
            <a:miter lim="800000"/>
            <a:headEnd/>
            <a:tailEnd/>
          </a:ln>
        </p:spPr>
      </p:pic>
      <p:sp>
        <p:nvSpPr>
          <p:cNvPr id="14" name="TextBox 13"/>
          <p:cNvSpPr txBox="1"/>
          <p:nvPr/>
        </p:nvSpPr>
        <p:spPr>
          <a:xfrm>
            <a:off x="254000" y="381000"/>
            <a:ext cx="11353800" cy="2308324"/>
          </a:xfrm>
          <a:prstGeom prst="rect">
            <a:avLst/>
          </a:prstGeom>
          <a:noFill/>
        </p:spPr>
        <p:txBody>
          <a:bodyPr vert="horz" wrap="square" rtlCol="0">
            <a:spAutoFit/>
          </a:bodyPr>
          <a:lstStyle/>
          <a:p>
            <a:pPr algn="l"/>
            <a:r>
              <a:rPr lang="en-US" sz="3600" b="1" dirty="0">
                <a:latin typeface="Leelawadee" pitchFamily="34" charset="-34"/>
                <a:cs typeface="Leelawadee" pitchFamily="34" charset="-34"/>
              </a:rPr>
              <a:t>OUTDATED </a:t>
            </a:r>
            <a:br>
              <a:rPr lang="en-US" sz="3600" dirty="0">
                <a:latin typeface="Leelawadee" pitchFamily="34" charset="-34"/>
                <a:cs typeface="Leelawadee" pitchFamily="34" charset="-34"/>
              </a:rPr>
            </a:br>
            <a:r>
              <a:rPr lang="en-US" sz="3600" b="1" dirty="0">
                <a:solidFill>
                  <a:srgbClr val="30C5C2"/>
                </a:solidFill>
                <a:latin typeface="Leelawadee" pitchFamily="34" charset="-34"/>
                <a:cs typeface="Leelawadee" pitchFamily="34" charset="-34"/>
              </a:rPr>
              <a:t>PERFORMANCE </a:t>
            </a:r>
            <a:br>
              <a:rPr lang="en-US" sz="3600" b="1" dirty="0">
                <a:solidFill>
                  <a:srgbClr val="30C5C2"/>
                </a:solidFill>
                <a:latin typeface="Leelawadee" pitchFamily="34" charset="-34"/>
                <a:cs typeface="Leelawadee" pitchFamily="34" charset="-34"/>
              </a:rPr>
            </a:br>
            <a:r>
              <a:rPr lang="en-US" sz="3600" b="1" dirty="0">
                <a:solidFill>
                  <a:srgbClr val="30C5C2"/>
                </a:solidFill>
                <a:latin typeface="Leelawadee" pitchFamily="34" charset="-34"/>
                <a:cs typeface="Leelawadee" pitchFamily="34" charset="-34"/>
              </a:rPr>
              <a:t>MANAGEMENT</a:t>
            </a:r>
          </a:p>
          <a:p>
            <a:pPr algn="l"/>
            <a:r>
              <a:rPr lang="en-US" sz="3600" dirty="0">
                <a:latin typeface="Leelawadee" pitchFamily="34" charset="-34"/>
                <a:cs typeface="Leelawadee" pitchFamily="34" charset="-34"/>
              </a:rPr>
              <a:t>PRACTICES</a:t>
            </a:r>
          </a:p>
        </p:txBody>
      </p:sp>
    </p:spTree>
    <p:custDataLst>
      <p:tags r:id="rId1"/>
    </p:custDataLst>
    <p:extLst>
      <p:ext uri="{BB962C8B-B14F-4D97-AF65-F5344CB8AC3E}">
        <p14:creationId xmlns:p14="http://schemas.microsoft.com/office/powerpoint/2010/main" val="7789250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7345" name="Picture 1"/>
          <p:cNvPicPr>
            <a:picLocks noChangeAspect="1" noChangeArrowheads="1"/>
          </p:cNvPicPr>
          <p:nvPr/>
        </p:nvPicPr>
        <p:blipFill>
          <a:blip r:embed="rId4"/>
          <a:srcRect/>
          <a:stretch>
            <a:fillRect/>
          </a:stretch>
        </p:blipFill>
        <p:spPr bwMode="auto">
          <a:xfrm>
            <a:off x="0" y="0"/>
            <a:ext cx="13527784" cy="9835567"/>
          </a:xfrm>
          <a:prstGeom prst="rect">
            <a:avLst/>
          </a:prstGeom>
          <a:noFill/>
          <a:ln w="9525">
            <a:noFill/>
            <a:miter lim="800000"/>
            <a:headEnd/>
            <a:tailEnd/>
          </a:ln>
        </p:spPr>
      </p:pic>
      <p:sp>
        <p:nvSpPr>
          <p:cNvPr id="4" name="Slide Number Placeholder 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4</a:t>
            </a:fld>
            <a:endParaRPr lang="en-US" dirty="0">
              <a:solidFill>
                <a:prstClr val="black"/>
              </a:solidFill>
            </a:endParaRPr>
          </a:p>
        </p:txBody>
      </p:sp>
    </p:spTree>
    <p:custDataLst>
      <p:tags r:id="rId1"/>
    </p:custDataLst>
    <p:extLst>
      <p:ext uri="{BB962C8B-B14F-4D97-AF65-F5344CB8AC3E}">
        <p14:creationId xmlns:p14="http://schemas.microsoft.com/office/powerpoint/2010/main" val="341788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ntr" presetSubtype="8" fill="hold" nodeType="clickEffect">
                                  <p:stCondLst>
                                    <p:cond delay="0"/>
                                  </p:stCondLst>
                                  <p:childTnLst>
                                    <p:set>
                                      <p:cBhvr>
                                        <p:cTn id="6" dur="1" fill="hold">
                                          <p:stCondLst>
                                            <p:cond delay="0"/>
                                          </p:stCondLst>
                                        </p:cTn>
                                        <p:tgtEl>
                                          <p:spTgt spid="697345"/>
                                        </p:tgtEl>
                                        <p:attrNameLst>
                                          <p:attrName>style.visibility</p:attrName>
                                        </p:attrNameLst>
                                      </p:cBhvr>
                                      <p:to>
                                        <p:strVal val="visible"/>
                                      </p:to>
                                    </p:set>
                                    <p:anim calcmode="lin" valueType="num">
                                      <p:cBhvr additive="base">
                                        <p:cTn id="7" dur="1000" fill="hold"/>
                                        <p:tgtEl>
                                          <p:spTgt spid="697345"/>
                                        </p:tgtEl>
                                        <p:attrNameLst>
                                          <p:attrName>ppt_x</p:attrName>
                                        </p:attrNameLst>
                                      </p:cBhvr>
                                      <p:tavLst>
                                        <p:tav tm="0">
                                          <p:val>
                                            <p:strVal val="0-#ppt_w/2"/>
                                          </p:val>
                                        </p:tav>
                                        <p:tav tm="100000">
                                          <p:val>
                                            <p:strVal val="#ppt_x"/>
                                          </p:val>
                                        </p:tav>
                                      </p:tavLst>
                                    </p:anim>
                                    <p:anim calcmode="lin" valueType="num">
                                      <p:cBhvr additive="base">
                                        <p:cTn id="8" dur="1000" fill="hold"/>
                                        <p:tgtEl>
                                          <p:spTgt spid="6973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5</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p:spPr>
        <p:txBody>
          <a:bodyPr/>
          <a:lstStyle/>
          <a:p>
            <a:r>
              <a:rPr lang="en-US" dirty="0"/>
              <a:t>©2017 copyright Employee Performance Solutions, LLC  All Rights Reserved | For Use Within Client Organization</a:t>
            </a:r>
          </a:p>
        </p:txBody>
      </p:sp>
      <p:graphicFrame>
        <p:nvGraphicFramePr>
          <p:cNvPr id="8" name="Chart 7"/>
          <p:cNvGraphicFramePr/>
          <p:nvPr/>
        </p:nvGraphicFramePr>
        <p:xfrm>
          <a:off x="2362200" y="457200"/>
          <a:ext cx="11836400" cy="87630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5029200" y="4876800"/>
            <a:ext cx="6781800" cy="2554545"/>
          </a:xfrm>
          <a:prstGeom prst="rect">
            <a:avLst/>
          </a:prstGeom>
          <a:noFill/>
        </p:spPr>
        <p:txBody>
          <a:bodyPr wrap="square" rtlCol="0">
            <a:spAutoFit/>
          </a:bodyPr>
          <a:lstStyle/>
          <a:p>
            <a:r>
              <a:rPr lang="en-US" sz="8000" b="1" dirty="0">
                <a:solidFill>
                  <a:schemeClr val="bg1"/>
                </a:solidFill>
                <a:latin typeface="Leelawadee" pitchFamily="34" charset="-34"/>
                <a:cs typeface="Leelawadee" pitchFamily="34" charset="-34"/>
              </a:rPr>
              <a:t>Forms and Process</a:t>
            </a:r>
          </a:p>
        </p:txBody>
      </p:sp>
      <p:sp>
        <p:nvSpPr>
          <p:cNvPr id="11" name="TextBox 10"/>
          <p:cNvSpPr txBox="1"/>
          <p:nvPr/>
        </p:nvSpPr>
        <p:spPr>
          <a:xfrm>
            <a:off x="4673600" y="5257800"/>
            <a:ext cx="7772400" cy="2585323"/>
          </a:xfrm>
          <a:prstGeom prst="rect">
            <a:avLst/>
          </a:prstGeom>
          <a:noFill/>
        </p:spPr>
        <p:txBody>
          <a:bodyPr wrap="square" rtlCol="0">
            <a:spAutoFit/>
          </a:bodyPr>
          <a:lstStyle/>
          <a:p>
            <a:r>
              <a:rPr lang="en-US" sz="5400" b="1" dirty="0">
                <a:solidFill>
                  <a:srgbClr val="30C5C2"/>
                </a:solidFill>
                <a:latin typeface="Leelawadee" pitchFamily="34" charset="-34"/>
                <a:cs typeface="Leelawadee" pitchFamily="34" charset="-34"/>
              </a:rPr>
              <a:t>Conversations</a:t>
            </a:r>
          </a:p>
          <a:p>
            <a:r>
              <a:rPr lang="en-US" sz="5400" b="1" dirty="0">
                <a:solidFill>
                  <a:schemeClr val="tx1"/>
                </a:solidFill>
                <a:latin typeface="Leelawadee" pitchFamily="34" charset="-34"/>
                <a:cs typeface="Leelawadee" pitchFamily="34" charset="-34"/>
              </a:rPr>
              <a:t>focused on</a:t>
            </a:r>
            <a:r>
              <a:rPr lang="en-US" sz="5400" b="1" dirty="0">
                <a:solidFill>
                  <a:srgbClr val="30C5C2"/>
                </a:solidFill>
                <a:latin typeface="Leelawadee" pitchFamily="34" charset="-34"/>
                <a:cs typeface="Leelawadee" pitchFamily="34" charset="-34"/>
              </a:rPr>
              <a:t> </a:t>
            </a:r>
            <a:r>
              <a:rPr lang="en-US" sz="5400" b="1" dirty="0">
                <a:solidFill>
                  <a:schemeClr val="tx1"/>
                </a:solidFill>
                <a:latin typeface="Leelawadee" pitchFamily="34" charset="-34"/>
                <a:cs typeface="Leelawadee" pitchFamily="34" charset="-34"/>
              </a:rPr>
              <a:t>now and </a:t>
            </a:r>
            <a:br>
              <a:rPr lang="en-US" sz="5400" b="1" dirty="0">
                <a:solidFill>
                  <a:schemeClr val="tx1"/>
                </a:solidFill>
                <a:latin typeface="Leelawadee" pitchFamily="34" charset="-34"/>
                <a:cs typeface="Leelawadee" pitchFamily="34" charset="-34"/>
              </a:rPr>
            </a:br>
            <a:r>
              <a:rPr lang="en-US" sz="5400" b="1" dirty="0">
                <a:solidFill>
                  <a:schemeClr val="tx1"/>
                </a:solidFill>
                <a:latin typeface="Leelawadee" pitchFamily="34" charset="-34"/>
                <a:cs typeface="Leelawadee" pitchFamily="34" charset="-34"/>
              </a:rPr>
              <a:t>the future</a:t>
            </a:r>
          </a:p>
        </p:txBody>
      </p:sp>
      <p:sp>
        <p:nvSpPr>
          <p:cNvPr id="9" name="TextBox 8"/>
          <p:cNvSpPr txBox="1"/>
          <p:nvPr/>
        </p:nvSpPr>
        <p:spPr>
          <a:xfrm>
            <a:off x="6248400" y="1371600"/>
            <a:ext cx="6781800" cy="1200329"/>
          </a:xfrm>
          <a:prstGeom prst="rect">
            <a:avLst/>
          </a:prstGeom>
          <a:noFill/>
        </p:spPr>
        <p:txBody>
          <a:bodyPr wrap="square" rtlCol="0">
            <a:spAutoFit/>
          </a:bodyPr>
          <a:lstStyle/>
          <a:p>
            <a:r>
              <a:rPr lang="en-US" sz="3600" b="1" dirty="0">
                <a:solidFill>
                  <a:schemeClr val="bg1"/>
                </a:solidFill>
                <a:latin typeface="Leelawadee" pitchFamily="34" charset="-34"/>
                <a:cs typeface="Leelawadee" pitchFamily="34" charset="-34"/>
              </a:rPr>
              <a:t>Forms and </a:t>
            </a:r>
            <a:br>
              <a:rPr lang="en-US" sz="3600" b="1" dirty="0">
                <a:solidFill>
                  <a:schemeClr val="bg1"/>
                </a:solidFill>
                <a:latin typeface="Leelawadee" pitchFamily="34" charset="-34"/>
                <a:cs typeface="Leelawadee" pitchFamily="34" charset="-34"/>
              </a:rPr>
            </a:br>
            <a:r>
              <a:rPr lang="en-US" sz="3600" b="1" dirty="0">
                <a:solidFill>
                  <a:schemeClr val="bg1"/>
                </a:solidFill>
                <a:latin typeface="Leelawadee" pitchFamily="34" charset="-34"/>
                <a:cs typeface="Leelawadee" pitchFamily="34" charset="-34"/>
              </a:rPr>
              <a:t>Process</a:t>
            </a:r>
          </a:p>
        </p:txBody>
      </p:sp>
      <p:sp>
        <p:nvSpPr>
          <p:cNvPr id="13" name="Rectangle 12"/>
          <p:cNvSpPr/>
          <p:nvPr/>
        </p:nvSpPr>
        <p:spPr bwMode="auto">
          <a:xfrm>
            <a:off x="3276600" y="3276600"/>
            <a:ext cx="2057400" cy="30480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2" name="Picture 2"/>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2743200" y="1752600"/>
            <a:ext cx="4953000" cy="4794186"/>
          </a:xfrm>
          <a:prstGeom prst="rect">
            <a:avLst/>
          </a:prstGeom>
          <a:noFill/>
          <a:ln w="9525">
            <a:noFill/>
            <a:miter lim="800000"/>
            <a:headEnd/>
            <a:tailEnd/>
          </a:ln>
        </p:spPr>
      </p:pic>
      <p:sp>
        <p:nvSpPr>
          <p:cNvPr id="14" name="TextBox 13"/>
          <p:cNvSpPr txBox="1"/>
          <p:nvPr/>
        </p:nvSpPr>
        <p:spPr>
          <a:xfrm>
            <a:off x="254000" y="-304800"/>
            <a:ext cx="11099800" cy="3416320"/>
          </a:xfrm>
          <a:prstGeom prst="rect">
            <a:avLst/>
          </a:prstGeom>
          <a:noFill/>
        </p:spPr>
        <p:txBody>
          <a:bodyPr vert="horz" wrap="square" rtlCol="0">
            <a:spAutoFit/>
          </a:bodyPr>
          <a:lstStyle/>
          <a:p>
            <a:pPr algn="l"/>
            <a:r>
              <a:rPr lang="en-US" sz="3600" b="1" dirty="0">
                <a:latin typeface="Leelawadee" pitchFamily="34" charset="-34"/>
                <a:cs typeface="Leelawadee" pitchFamily="34" charset="-34"/>
              </a:rPr>
              <a:t> </a:t>
            </a:r>
            <a:br>
              <a:rPr lang="en-US" sz="3600" dirty="0">
                <a:latin typeface="Leelawadee" pitchFamily="34" charset="-34"/>
                <a:cs typeface="Leelawadee" pitchFamily="34" charset="-34"/>
              </a:rPr>
            </a:br>
            <a:r>
              <a:rPr lang="en-US" sz="3600" b="1" dirty="0">
                <a:solidFill>
                  <a:schemeClr val="tx1"/>
                </a:solidFill>
                <a:latin typeface="Leelawadee" pitchFamily="34" charset="-34"/>
                <a:cs typeface="Leelawadee" pitchFamily="34" charset="-34"/>
              </a:rPr>
              <a:t>ONGOING </a:t>
            </a:r>
          </a:p>
          <a:p>
            <a:pPr algn="l"/>
            <a:r>
              <a:rPr lang="en-US" sz="3600" b="1" dirty="0">
                <a:solidFill>
                  <a:schemeClr val="tx1"/>
                </a:solidFill>
                <a:latin typeface="Leelawadee" pitchFamily="34" charset="-34"/>
                <a:cs typeface="Leelawadee" pitchFamily="34" charset="-34"/>
              </a:rPr>
              <a:t>CONVERSATIONS</a:t>
            </a:r>
          </a:p>
          <a:p>
            <a:pPr algn="l"/>
            <a:r>
              <a:rPr lang="en-US" sz="3600" b="1" dirty="0">
                <a:solidFill>
                  <a:srgbClr val="30C5C2"/>
                </a:solidFill>
                <a:latin typeface="Leelawadee" pitchFamily="34" charset="-34"/>
                <a:cs typeface="Leelawadee" pitchFamily="34" charset="-34"/>
              </a:rPr>
              <a:t>ABOUT YOUR</a:t>
            </a:r>
          </a:p>
          <a:p>
            <a:pPr algn="l"/>
            <a:r>
              <a:rPr lang="en-US" sz="3600" b="1" dirty="0">
                <a:solidFill>
                  <a:srgbClr val="30C5C2"/>
                </a:solidFill>
                <a:latin typeface="Leelawadee" pitchFamily="34" charset="-34"/>
                <a:cs typeface="Leelawadee" pitchFamily="34" charset="-34"/>
              </a:rPr>
              <a:t>PERFORMANCE</a:t>
            </a:r>
          </a:p>
          <a:p>
            <a:pPr algn="l"/>
            <a:r>
              <a:rPr lang="en-US" sz="3600" b="1" dirty="0">
                <a:solidFill>
                  <a:srgbClr val="30C5C2"/>
                </a:solidFill>
                <a:latin typeface="Leelawadee" pitchFamily="34" charset="-34"/>
                <a:cs typeface="Leelawadee" pitchFamily="34" charset="-34"/>
              </a:rPr>
              <a:t>AND POTENTIAL</a:t>
            </a:r>
            <a:endParaRPr lang="en-US" sz="3600" b="1" dirty="0">
              <a:latin typeface="Leelawadee" pitchFamily="34" charset="-34"/>
              <a:cs typeface="Leelawadee" pitchFamily="34" charset="-34"/>
            </a:endParaRPr>
          </a:p>
        </p:txBody>
      </p:sp>
    </p:spTree>
    <p:custDataLst>
      <p:tags r:id="rId1"/>
    </p:custDataLst>
    <p:extLst>
      <p:ext uri="{BB962C8B-B14F-4D97-AF65-F5344CB8AC3E}">
        <p14:creationId xmlns:p14="http://schemas.microsoft.com/office/powerpoint/2010/main" val="3968324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966200" y="9414933"/>
            <a:ext cx="3034453" cy="677333"/>
          </a:xfrm>
        </p:spPr>
        <p:txBody>
          <a:bodyPr/>
          <a:lstStyle/>
          <a:p>
            <a:pPr>
              <a:defRPr/>
            </a:pPr>
            <a:fld id="{7C0A6E37-841E-4E23-95AD-DF9C80D768D7}" type="slidenum">
              <a:rPr lang="en-US" smtClean="0">
                <a:solidFill>
                  <a:prstClr val="black"/>
                </a:solidFill>
              </a:rPr>
              <a:pPr>
                <a:defRPr/>
              </a:pPr>
              <a:t>66</a:t>
            </a:fld>
            <a:endParaRPr lang="en-US" dirty="0">
              <a:solidFill>
                <a:prstClr val="black"/>
              </a:solidFill>
            </a:endParaRPr>
          </a:p>
        </p:txBody>
      </p:sp>
      <p:sp>
        <p:nvSpPr>
          <p:cNvPr id="4" name="Footer Placeholder 4"/>
          <p:cNvSpPr>
            <a:spLocks noGrp="1"/>
          </p:cNvSpPr>
          <p:nvPr>
            <p:ph type="ftr" sz="quarter" idx="3"/>
          </p:nvPr>
        </p:nvSpPr>
        <p:spPr>
          <a:xfrm>
            <a:off x="-1778000" y="9386888"/>
            <a:ext cx="8458199" cy="519112"/>
          </a:xfrm>
        </p:spPr>
        <p:txBody>
          <a:bodyPr/>
          <a:lstStyle/>
          <a:p>
            <a:r>
              <a:rPr lang="en-US" dirty="0"/>
              <a:t>©2017 copyright Employee Performance Solutions, LLC  All Rights Reserved | For Use Within Client Organization</a:t>
            </a:r>
          </a:p>
        </p:txBody>
      </p:sp>
      <p:graphicFrame>
        <p:nvGraphicFramePr>
          <p:cNvPr id="8" name="Chart 7"/>
          <p:cNvGraphicFramePr/>
          <p:nvPr/>
        </p:nvGraphicFramePr>
        <p:xfrm>
          <a:off x="406400" y="0"/>
          <a:ext cx="12598400" cy="944880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3314700" y="4655141"/>
            <a:ext cx="6781800" cy="2554545"/>
          </a:xfrm>
          <a:prstGeom prst="rect">
            <a:avLst/>
          </a:prstGeom>
          <a:noFill/>
        </p:spPr>
        <p:txBody>
          <a:bodyPr wrap="square" rtlCol="0">
            <a:spAutoFit/>
          </a:bodyPr>
          <a:lstStyle/>
          <a:p>
            <a:r>
              <a:rPr lang="en-US" sz="8000" b="1" dirty="0">
                <a:solidFill>
                  <a:schemeClr val="bg1"/>
                </a:solidFill>
                <a:latin typeface="Leelawadee" pitchFamily="34" charset="-34"/>
                <a:cs typeface="Leelawadee" pitchFamily="34" charset="-34"/>
              </a:rPr>
              <a:t>Forms and Process</a:t>
            </a:r>
          </a:p>
        </p:txBody>
      </p:sp>
      <p:sp>
        <p:nvSpPr>
          <p:cNvPr id="15" name="Rectangle 14"/>
          <p:cNvSpPr/>
          <p:nvPr/>
        </p:nvSpPr>
        <p:spPr bwMode="auto">
          <a:xfrm>
            <a:off x="6578600" y="381000"/>
            <a:ext cx="3429000" cy="21336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Isosceles Triangle 15"/>
          <p:cNvSpPr/>
          <p:nvPr/>
        </p:nvSpPr>
        <p:spPr bwMode="auto">
          <a:xfrm rot="4547065">
            <a:off x="7265344" y="1147819"/>
            <a:ext cx="1847503" cy="3169140"/>
          </a:xfrm>
          <a:prstGeom prst="triangle">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7" name="Isosceles Triangle 16"/>
          <p:cNvSpPr/>
          <p:nvPr/>
        </p:nvSpPr>
        <p:spPr bwMode="auto">
          <a:xfrm rot="20658622">
            <a:off x="6000395" y="2678875"/>
            <a:ext cx="1429349" cy="1556232"/>
          </a:xfrm>
          <a:prstGeom prst="triangle">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Isosceles Triangle 17"/>
          <p:cNvSpPr/>
          <p:nvPr/>
        </p:nvSpPr>
        <p:spPr bwMode="auto">
          <a:xfrm rot="19394742">
            <a:off x="4863180" y="1682887"/>
            <a:ext cx="3181090" cy="3242763"/>
          </a:xfrm>
          <a:prstGeom prst="triangle">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Isosceles Triangle 18"/>
          <p:cNvSpPr/>
          <p:nvPr/>
        </p:nvSpPr>
        <p:spPr bwMode="auto">
          <a:xfrm rot="20045504">
            <a:off x="7702103" y="2657264"/>
            <a:ext cx="1234492" cy="892310"/>
          </a:xfrm>
          <a:prstGeom prst="triangle">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Isosceles Triangle 19"/>
          <p:cNvSpPr/>
          <p:nvPr/>
        </p:nvSpPr>
        <p:spPr bwMode="auto">
          <a:xfrm rot="19394742">
            <a:off x="6331046" y="3586812"/>
            <a:ext cx="2143201" cy="393966"/>
          </a:xfrm>
          <a:prstGeom prst="triangle">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TextBox 8"/>
          <p:cNvSpPr txBox="1"/>
          <p:nvPr/>
        </p:nvSpPr>
        <p:spPr>
          <a:xfrm>
            <a:off x="4902200" y="1219200"/>
            <a:ext cx="5486400" cy="2308324"/>
          </a:xfrm>
          <a:prstGeom prst="rect">
            <a:avLst/>
          </a:prstGeom>
          <a:solidFill>
            <a:schemeClr val="bg1"/>
          </a:solidFill>
        </p:spPr>
        <p:txBody>
          <a:bodyPr wrap="square" rtlCol="0">
            <a:spAutoFit/>
          </a:bodyPr>
          <a:lstStyle/>
          <a:p>
            <a:r>
              <a:rPr lang="en-US" sz="3600" b="1" dirty="0">
                <a:solidFill>
                  <a:schemeClr val="bg1"/>
                </a:solidFill>
                <a:latin typeface="Leelawadee" pitchFamily="34" charset="-34"/>
                <a:cs typeface="Leelawadee" pitchFamily="34" charset="-34"/>
              </a:rPr>
              <a:t>Forms and </a:t>
            </a:r>
            <a:br>
              <a:rPr lang="en-US" sz="3600" b="1" dirty="0">
                <a:solidFill>
                  <a:schemeClr val="bg1"/>
                </a:solidFill>
                <a:latin typeface="Leelawadee" pitchFamily="34" charset="-34"/>
                <a:cs typeface="Leelawadee" pitchFamily="34" charset="-34"/>
              </a:rPr>
            </a:br>
            <a:r>
              <a:rPr lang="en-US" sz="3600" b="1" dirty="0">
                <a:solidFill>
                  <a:schemeClr val="bg1"/>
                </a:solidFill>
                <a:latin typeface="Leelawadee" pitchFamily="34" charset="-34"/>
                <a:cs typeface="Leelawadee" pitchFamily="34" charset="-34"/>
              </a:rPr>
              <a:t>P</a:t>
            </a:r>
          </a:p>
          <a:p>
            <a:endParaRPr lang="en-US" sz="3600" b="1" dirty="0">
              <a:solidFill>
                <a:schemeClr val="bg1"/>
              </a:solidFill>
              <a:latin typeface="Leelawadee" pitchFamily="34" charset="-34"/>
              <a:cs typeface="Leelawadee" pitchFamily="34" charset="-34"/>
            </a:endParaRPr>
          </a:p>
          <a:p>
            <a:endParaRPr lang="en-US" sz="3600" b="1" dirty="0">
              <a:solidFill>
                <a:schemeClr val="bg1"/>
              </a:solidFill>
              <a:latin typeface="Leelawadee" pitchFamily="34" charset="-34"/>
              <a:cs typeface="Leelawadee" pitchFamily="34" charset="-34"/>
            </a:endParaRPr>
          </a:p>
        </p:txBody>
      </p:sp>
      <p:pic>
        <p:nvPicPr>
          <p:cNvPr id="12" name="Picture 2"/>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4826000" y="-304800"/>
            <a:ext cx="4953000" cy="4794186"/>
          </a:xfrm>
          <a:prstGeom prst="rect">
            <a:avLst/>
          </a:prstGeom>
          <a:noFill/>
          <a:ln w="9525">
            <a:noFill/>
            <a:miter lim="800000"/>
            <a:headEnd/>
            <a:tailEnd/>
          </a:ln>
        </p:spPr>
      </p:pic>
      <p:sp>
        <p:nvSpPr>
          <p:cNvPr id="11" name="TextBox 10"/>
          <p:cNvSpPr txBox="1"/>
          <p:nvPr/>
        </p:nvSpPr>
        <p:spPr>
          <a:xfrm>
            <a:off x="2626478" y="4640279"/>
            <a:ext cx="7772400" cy="2985433"/>
          </a:xfrm>
          <a:prstGeom prst="rect">
            <a:avLst/>
          </a:prstGeom>
          <a:noFill/>
        </p:spPr>
        <p:txBody>
          <a:bodyPr wrap="square" rtlCol="0">
            <a:spAutoFit/>
          </a:bodyPr>
          <a:lstStyle/>
          <a:p>
            <a:r>
              <a:rPr lang="en-US" sz="4000" b="1" dirty="0">
                <a:solidFill>
                  <a:schemeClr val="tx1"/>
                </a:solidFill>
                <a:latin typeface="Leelawadee" pitchFamily="34" charset="-34"/>
                <a:cs typeface="Leelawadee" pitchFamily="34" charset="-34"/>
              </a:rPr>
              <a:t>The 10-Minute Questions Conversation</a:t>
            </a:r>
          </a:p>
          <a:p>
            <a:r>
              <a:rPr lang="en-US" sz="5400" b="1" dirty="0">
                <a:solidFill>
                  <a:srgbClr val="30C5C2"/>
                </a:solidFill>
                <a:latin typeface="Leelawadee" pitchFamily="34" charset="-34"/>
                <a:cs typeface="Leelawadee" pitchFamily="34" charset="-34"/>
              </a:rPr>
              <a:t>Manager and Employee </a:t>
            </a:r>
          </a:p>
          <a:p>
            <a:r>
              <a:rPr lang="en-US" sz="5400" b="1" dirty="0">
                <a:solidFill>
                  <a:schemeClr val="tx1">
                    <a:lumMod val="65000"/>
                    <a:lumOff val="35000"/>
                  </a:schemeClr>
                </a:solidFill>
                <a:latin typeface="Leelawadee" pitchFamily="34" charset="-34"/>
                <a:cs typeface="Leelawadee" pitchFamily="34" charset="-34"/>
              </a:rPr>
              <a:t>Conversation Model</a:t>
            </a:r>
          </a:p>
        </p:txBody>
      </p:sp>
    </p:spTree>
    <p:custDataLst>
      <p:tags r:id="rId1"/>
    </p:custDataLst>
    <p:extLst>
      <p:ext uri="{BB962C8B-B14F-4D97-AF65-F5344CB8AC3E}">
        <p14:creationId xmlns:p14="http://schemas.microsoft.com/office/powerpoint/2010/main" val="1729253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BED92D-0816-4575-BC98-BA88F363AE2E}"/>
              </a:ext>
            </a:extLst>
          </p:cNvPr>
          <p:cNvPicPr>
            <a:picLocks noChangeAspect="1"/>
          </p:cNvPicPr>
          <p:nvPr/>
        </p:nvPicPr>
        <p:blipFill>
          <a:blip r:embed="rId3"/>
          <a:stretch>
            <a:fillRect/>
          </a:stretch>
        </p:blipFill>
        <p:spPr>
          <a:xfrm>
            <a:off x="6988294" y="1365250"/>
            <a:ext cx="5636037" cy="7023100"/>
          </a:xfrm>
          <a:prstGeom prst="rect">
            <a:avLst/>
          </a:prstGeom>
          <a:ln>
            <a:noFill/>
          </a:ln>
          <a:effectLst>
            <a:outerShdw blurRad="292100" dist="139700" dir="2700000" algn="tl" rotWithShape="0">
              <a:srgbClr val="333333">
                <a:alpha val="65000"/>
              </a:srgbClr>
            </a:outerShdw>
          </a:effectLst>
        </p:spPr>
      </p:pic>
      <p:sp>
        <p:nvSpPr>
          <p:cNvPr id="12" name="Text Placeholder 11">
            <a:extLst>
              <a:ext uri="{FF2B5EF4-FFF2-40B4-BE49-F238E27FC236}">
                <a16:creationId xmlns:a16="http://schemas.microsoft.com/office/drawing/2014/main" id="{7822CB3C-3E9E-4288-BD5D-DE3ADBA44959}"/>
              </a:ext>
            </a:extLst>
          </p:cNvPr>
          <p:cNvSpPr>
            <a:spLocks noGrp="1"/>
          </p:cNvSpPr>
          <p:nvPr>
            <p:ph type="body" sz="quarter" idx="4294967295"/>
          </p:nvPr>
        </p:nvSpPr>
        <p:spPr>
          <a:xfrm>
            <a:off x="894080" y="2596444"/>
            <a:ext cx="11216640" cy="6188570"/>
          </a:xfrm>
          <a:prstGeom prst="rect">
            <a:avLst/>
          </a:prstGeom>
        </p:spPr>
        <p:txBody>
          <a:bodyPr vert="horz" lIns="91440" tIns="45720" rIns="91440" bIns="45720" rtlCol="0">
            <a:normAutofit/>
          </a:bodyPr>
          <a:lstStyle>
            <a:lvl1pPr marL="243848" indent="-243848" algn="l" defTabSz="975390" rtl="0" eaLnBrk="1" latinLnBrk="0" hangingPunct="1">
              <a:lnSpc>
                <a:spcPct val="90000"/>
              </a:lnSpc>
              <a:spcBef>
                <a:spcPts val="1067"/>
              </a:spcBef>
              <a:buFont typeface="Arial"/>
              <a:buChar char="•"/>
              <a:defRPr sz="2987" kern="1200">
                <a:solidFill>
                  <a:schemeClr val="tx2"/>
                </a:solidFill>
                <a:latin typeface="Arial" charset="0"/>
                <a:ea typeface="Arial" charset="0"/>
                <a:cs typeface="Arial" charset="0"/>
              </a:defRPr>
            </a:lvl1pPr>
            <a:lvl2pPr marL="731543" indent="-243848" algn="l" defTabSz="975390" rtl="0" eaLnBrk="1" latinLnBrk="0" hangingPunct="1">
              <a:lnSpc>
                <a:spcPct val="90000"/>
              </a:lnSpc>
              <a:spcBef>
                <a:spcPts val="533"/>
              </a:spcBef>
              <a:buFont typeface="Arial"/>
              <a:buChar char="•"/>
              <a:defRPr sz="2560" kern="1200">
                <a:solidFill>
                  <a:schemeClr val="tx2"/>
                </a:solidFill>
                <a:latin typeface="Arial" charset="0"/>
                <a:ea typeface="Arial" charset="0"/>
                <a:cs typeface="Arial" charset="0"/>
              </a:defRPr>
            </a:lvl2pPr>
            <a:lvl3pPr marL="1219238" indent="-243848" algn="l" defTabSz="975390" rtl="0" eaLnBrk="1" latinLnBrk="0" hangingPunct="1">
              <a:lnSpc>
                <a:spcPct val="90000"/>
              </a:lnSpc>
              <a:spcBef>
                <a:spcPts val="533"/>
              </a:spcBef>
              <a:buFont typeface="Arial"/>
              <a:buChar char="•"/>
              <a:defRPr sz="2133" kern="1200">
                <a:solidFill>
                  <a:schemeClr val="tx2"/>
                </a:solidFill>
                <a:latin typeface="Arial" charset="0"/>
                <a:ea typeface="Arial" charset="0"/>
                <a:cs typeface="Arial" charset="0"/>
              </a:defRPr>
            </a:lvl3pPr>
            <a:lvl4pPr marL="1706933" indent="-243848" algn="l" defTabSz="975390" rtl="0" eaLnBrk="1" latinLnBrk="0" hangingPunct="1">
              <a:lnSpc>
                <a:spcPct val="90000"/>
              </a:lnSpc>
              <a:spcBef>
                <a:spcPts val="533"/>
              </a:spcBef>
              <a:buFont typeface="Arial"/>
              <a:buChar char="•"/>
              <a:defRPr sz="1920" kern="1200">
                <a:solidFill>
                  <a:schemeClr val="tx2"/>
                </a:solidFill>
                <a:latin typeface="Arial" charset="0"/>
                <a:ea typeface="Arial" charset="0"/>
                <a:cs typeface="Arial" charset="0"/>
              </a:defRPr>
            </a:lvl4pPr>
            <a:lvl5pPr marL="2194629" indent="-243848" algn="l" defTabSz="975390" rtl="0" eaLnBrk="1" latinLnBrk="0" hangingPunct="1">
              <a:lnSpc>
                <a:spcPct val="90000"/>
              </a:lnSpc>
              <a:spcBef>
                <a:spcPts val="533"/>
              </a:spcBef>
              <a:buFont typeface="Arial"/>
              <a:buChar char="•"/>
              <a:defRPr sz="1920" kern="1200">
                <a:solidFill>
                  <a:schemeClr val="tx2"/>
                </a:solidFill>
                <a:latin typeface="Arial" charset="0"/>
                <a:ea typeface="Arial" charset="0"/>
                <a:cs typeface="Arial" charset="0"/>
              </a:defRPr>
            </a:lvl5pPr>
            <a:lvl6pPr marL="2682324"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6pPr>
            <a:lvl7pPr marL="3170019"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7pPr>
            <a:lvl8pPr marL="3657714"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8pPr>
            <a:lvl9pPr marL="4145410" indent="-243848" algn="l" defTabSz="975390" rtl="0" eaLnBrk="1" latinLnBrk="0" hangingPunct="1">
              <a:lnSpc>
                <a:spcPct val="90000"/>
              </a:lnSpc>
              <a:spcBef>
                <a:spcPts val="533"/>
              </a:spcBef>
              <a:buFont typeface="Arial"/>
              <a:buChar char="•"/>
              <a:defRPr sz="1920" kern="1200">
                <a:solidFill>
                  <a:schemeClr val="tx1"/>
                </a:solidFill>
                <a:latin typeface="+mn-lt"/>
                <a:ea typeface="+mn-ea"/>
                <a:cs typeface="+mn-cs"/>
              </a:defRPr>
            </a:lvl9pPr>
          </a:lstStyle>
          <a:p>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a:extLst>
              <a:ext uri="{FF2B5EF4-FFF2-40B4-BE49-F238E27FC236}">
                <a16:creationId xmlns:a16="http://schemas.microsoft.com/office/drawing/2014/main" id="{F9BB3F33-D9D6-4866-8099-B40DCC59510F}"/>
              </a:ext>
            </a:extLst>
          </p:cNvPr>
          <p:cNvSpPr>
            <a:spLocks noGrp="1"/>
          </p:cNvSpPr>
          <p:nvPr>
            <p:ph type="title" idx="4294967295"/>
          </p:nvPr>
        </p:nvSpPr>
        <p:spPr>
          <a:xfrm>
            <a:off x="894080" y="519290"/>
            <a:ext cx="11216640" cy="1885245"/>
          </a:xfrm>
          <a:prstGeom prst="rect">
            <a:avLst/>
          </a:prstGeom>
        </p:spPr>
        <p:txBody>
          <a:bodyPr vert="horz" lIns="91440" tIns="45720" rIns="91440" bIns="45720" rtlCol="0" anchor="ctr">
            <a:normAutofit/>
          </a:bodyPr>
          <a:lstStyle>
            <a:lvl1pPr algn="l" defTabSz="975390" rtl="0" eaLnBrk="1" latinLnBrk="0" hangingPunct="1">
              <a:lnSpc>
                <a:spcPct val="90000"/>
              </a:lnSpc>
              <a:spcBef>
                <a:spcPct val="0"/>
              </a:spcBef>
              <a:buNone/>
              <a:defRPr sz="3840" b="1" i="0" kern="1200">
                <a:solidFill>
                  <a:schemeClr val="tx2"/>
                </a:solidFill>
                <a:latin typeface="Arial" charset="0"/>
                <a:ea typeface="Arial" charset="0"/>
                <a:cs typeface="Arial" charset="0"/>
              </a:defRPr>
            </a:lvl1pPr>
          </a:lstStyle>
          <a:p>
            <a:r>
              <a:rPr lang="en-US"/>
              <a:t>Click to edit Master title style</a:t>
            </a:r>
            <a:endParaRPr lang="en-US" dirty="0">
              <a:solidFill>
                <a:srgbClr val="127AD1"/>
              </a:solidFill>
            </a:endParaRPr>
          </a:p>
        </p:txBody>
      </p:sp>
      <p:sp>
        <p:nvSpPr>
          <p:cNvPr id="17" name="Rectangle 16">
            <a:extLst>
              <a:ext uri="{FF2B5EF4-FFF2-40B4-BE49-F238E27FC236}">
                <a16:creationId xmlns:a16="http://schemas.microsoft.com/office/drawing/2014/main" id="{663AE10B-8C61-45CA-8538-D8A8A96EC387}"/>
              </a:ext>
            </a:extLst>
          </p:cNvPr>
          <p:cNvSpPr/>
          <p:nvPr/>
        </p:nvSpPr>
        <p:spPr>
          <a:xfrm>
            <a:off x="5970061" y="6096000"/>
            <a:ext cx="1018233" cy="1114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fontAlgn="auto">
              <a:spcBef>
                <a:spcPts val="0"/>
              </a:spcBef>
              <a:spcAft>
                <a:spcPts val="0"/>
              </a:spcAft>
            </a:pPr>
            <a:endParaRPr lang="en-US" sz="1920">
              <a:solidFill>
                <a:srgbClr val="FFFFFF"/>
              </a:solidFill>
              <a:latin typeface="Arial"/>
            </a:endParaRPr>
          </a:p>
        </p:txBody>
      </p:sp>
    </p:spTree>
    <p:custDataLst>
      <p:tags r:id="rId1"/>
    </p:custDataLst>
    <p:extLst>
      <p:ext uri="{BB962C8B-B14F-4D97-AF65-F5344CB8AC3E}">
        <p14:creationId xmlns:p14="http://schemas.microsoft.com/office/powerpoint/2010/main" val="6017020"/>
      </p:ext>
    </p:extLst>
  </p:cSld>
  <p:clrMapOvr>
    <a:masterClrMapping/>
  </p:clrMapOvr>
  <p:transition spd="slow">
    <p:random/>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9BB3F33-D9D6-4866-8099-B40DCC59510F}"/>
              </a:ext>
            </a:extLst>
          </p:cNvPr>
          <p:cNvSpPr>
            <a:spLocks noGrp="1"/>
          </p:cNvSpPr>
          <p:nvPr>
            <p:ph type="title" idx="4294967295"/>
          </p:nvPr>
        </p:nvSpPr>
        <p:spPr>
          <a:xfrm>
            <a:off x="894080" y="519290"/>
            <a:ext cx="11216640" cy="1885245"/>
          </a:xfrm>
          <a:prstGeom prst="rect">
            <a:avLst/>
          </a:prstGeom>
        </p:spPr>
        <p:txBody>
          <a:bodyPr vert="horz" lIns="91440" tIns="45720" rIns="91440" bIns="45720" rtlCol="0" anchor="ctr">
            <a:normAutofit/>
          </a:bodyPr>
          <a:lstStyle>
            <a:lvl1pPr algn="l" defTabSz="975390" rtl="0" eaLnBrk="1" latinLnBrk="0" hangingPunct="1">
              <a:lnSpc>
                <a:spcPct val="90000"/>
              </a:lnSpc>
              <a:spcBef>
                <a:spcPct val="0"/>
              </a:spcBef>
              <a:buNone/>
              <a:defRPr sz="3840" b="1" i="0" kern="1200">
                <a:solidFill>
                  <a:schemeClr val="tx2"/>
                </a:solidFill>
                <a:latin typeface="Arial" charset="0"/>
                <a:ea typeface="Arial" charset="0"/>
                <a:cs typeface="Arial" charset="0"/>
              </a:defRPr>
            </a:lvl1pPr>
          </a:lstStyle>
          <a:p>
            <a:r>
              <a:rPr lang="en-US"/>
              <a:t>Click to edit Master title style</a:t>
            </a:r>
            <a:endParaRPr lang="en-US" dirty="0"/>
          </a:p>
        </p:txBody>
      </p:sp>
      <p:pic>
        <p:nvPicPr>
          <p:cNvPr id="11" name="Ink 7">
            <a:extLst>
              <a:ext uri="{FF2B5EF4-FFF2-40B4-BE49-F238E27FC236}">
                <a16:creationId xmlns:a16="http://schemas.microsoft.com/office/drawing/2014/main" id="{8CC9FD6C-E42B-47F0-80B3-5E957C2496A8}"/>
              </a:ext>
            </a:extLst>
          </p:cNvPr>
          <p:cNvPicPr>
            <a:picLocks noRot="1" noChangeAspect="1" noEditPoints="1" noChangeArrowheads="1" noChangeShapeType="1"/>
          </p:cNvPicPr>
          <p:nvPr/>
        </p:nvPicPr>
        <p:blipFill>
          <a:blip r:embed="rId3"/>
          <a:stretch>
            <a:fillRect/>
          </a:stretch>
        </p:blipFill>
        <p:spPr>
          <a:xfrm>
            <a:off x="10787090" y="3218160"/>
            <a:ext cx="1018121" cy="838777"/>
          </a:xfrm>
          <a:prstGeom prst="rect">
            <a:avLst/>
          </a:prstGeom>
          <a:ln>
            <a:noFill/>
          </a:ln>
          <a:effectLst>
            <a:outerShdw blurRad="292100" dist="139700" dir="2700000" algn="tl" rotWithShape="0">
              <a:srgbClr val="333333">
                <a:alpha val="65000"/>
              </a:srgbClr>
            </a:outerShdw>
          </a:effectLst>
        </p:spPr>
      </p:pic>
      <p:pic>
        <p:nvPicPr>
          <p:cNvPr id="14" name="Ink 10">
            <a:extLst>
              <a:ext uri="{FF2B5EF4-FFF2-40B4-BE49-F238E27FC236}">
                <a16:creationId xmlns:a16="http://schemas.microsoft.com/office/drawing/2014/main" id="{232714EC-B759-453C-9A97-EF19601E2F5A}"/>
              </a:ext>
            </a:extLst>
          </p:cNvPr>
          <p:cNvPicPr>
            <a:picLocks noRot="1" noChangeAspect="1" noEditPoints="1" noChangeArrowheads="1" noChangeShapeType="1"/>
          </p:cNvPicPr>
          <p:nvPr/>
        </p:nvPicPr>
        <p:blipFill>
          <a:blip r:embed="rId4"/>
          <a:stretch>
            <a:fillRect/>
          </a:stretch>
        </p:blipFill>
        <p:spPr>
          <a:xfrm>
            <a:off x="10820884" y="3886291"/>
            <a:ext cx="1678738" cy="739180"/>
          </a:xfrm>
          <a:prstGeom prst="rect">
            <a:avLst/>
          </a:prstGeom>
          <a:ln>
            <a:noFill/>
          </a:ln>
          <a:effectLst>
            <a:outerShdw blurRad="292100" dist="139700" dir="2700000" algn="tl" rotWithShape="0">
              <a:srgbClr val="333333">
                <a:alpha val="65000"/>
              </a:srgbClr>
            </a:outerShdw>
          </a:effectLst>
        </p:spPr>
      </p:pic>
      <p:pic>
        <p:nvPicPr>
          <p:cNvPr id="15" name="Ink 7">
            <a:extLst>
              <a:ext uri="{FF2B5EF4-FFF2-40B4-BE49-F238E27FC236}">
                <a16:creationId xmlns:a16="http://schemas.microsoft.com/office/drawing/2014/main" id="{403751A6-5052-4A73-988E-80E8C3AED343}"/>
              </a:ext>
            </a:extLst>
          </p:cNvPr>
          <p:cNvPicPr>
            <a:picLocks noRot="1" noChangeAspect="1" noEditPoints="1" noChangeArrowheads="1" noChangeShapeType="1"/>
          </p:cNvPicPr>
          <p:nvPr/>
        </p:nvPicPr>
        <p:blipFill>
          <a:blip r:embed="rId3"/>
          <a:stretch>
            <a:fillRect/>
          </a:stretch>
        </p:blipFill>
        <p:spPr>
          <a:xfrm>
            <a:off x="10787091" y="6583940"/>
            <a:ext cx="603620" cy="497292"/>
          </a:xfrm>
          <a:prstGeom prst="rect">
            <a:avLst/>
          </a:prstGeom>
          <a:ln>
            <a:noFill/>
          </a:ln>
          <a:effectLst>
            <a:outerShdw blurRad="292100" dist="139700" dir="2700000" algn="tl" rotWithShape="0">
              <a:srgbClr val="333333">
                <a:alpha val="65000"/>
              </a:srgbClr>
            </a:outerShdw>
          </a:effectLst>
        </p:spPr>
      </p:pic>
      <p:pic>
        <p:nvPicPr>
          <p:cNvPr id="16" name="Ink 10">
            <a:extLst>
              <a:ext uri="{FF2B5EF4-FFF2-40B4-BE49-F238E27FC236}">
                <a16:creationId xmlns:a16="http://schemas.microsoft.com/office/drawing/2014/main" id="{EC2FF49C-7427-4CD4-AE26-A5E0A00F7AA0}"/>
              </a:ext>
            </a:extLst>
          </p:cNvPr>
          <p:cNvPicPr>
            <a:picLocks noRot="1" noChangeAspect="1" noEditPoints="1" noChangeArrowheads="1" noChangeShapeType="1"/>
          </p:cNvPicPr>
          <p:nvPr/>
        </p:nvPicPr>
        <p:blipFill>
          <a:blip r:embed="rId4"/>
          <a:stretch>
            <a:fillRect/>
          </a:stretch>
        </p:blipFill>
        <p:spPr>
          <a:xfrm>
            <a:off x="10800364" y="7101980"/>
            <a:ext cx="1557425" cy="685763"/>
          </a:xfrm>
          <a:prstGeom prst="rect">
            <a:avLst/>
          </a:prstGeom>
          <a:ln>
            <a:noFill/>
          </a:ln>
          <a:effectLst>
            <a:outerShdw blurRad="292100" dist="139700" dir="2700000" algn="tl" rotWithShape="0">
              <a:srgbClr val="333333">
                <a:alpha val="65000"/>
              </a:srgbClr>
            </a:outerShdw>
          </a:effectLst>
        </p:spPr>
      </p:pic>
      <p:pic>
        <p:nvPicPr>
          <p:cNvPr id="17" name="Ink 7">
            <a:extLst>
              <a:ext uri="{FF2B5EF4-FFF2-40B4-BE49-F238E27FC236}">
                <a16:creationId xmlns:a16="http://schemas.microsoft.com/office/drawing/2014/main" id="{4591D133-C249-445B-A4D0-CE93C27FB873}"/>
              </a:ext>
            </a:extLst>
          </p:cNvPr>
          <p:cNvPicPr>
            <a:picLocks noRot="1" noChangeAspect="1" noEditPoints="1" noChangeArrowheads="1" noChangeShapeType="1"/>
          </p:cNvPicPr>
          <p:nvPr/>
        </p:nvPicPr>
        <p:blipFill>
          <a:blip r:embed="rId3"/>
          <a:stretch>
            <a:fillRect/>
          </a:stretch>
        </p:blipFill>
        <p:spPr>
          <a:xfrm>
            <a:off x="10882817" y="5322885"/>
            <a:ext cx="527537" cy="434611"/>
          </a:xfrm>
          <a:prstGeom prst="rect">
            <a:avLst/>
          </a:prstGeom>
          <a:ln>
            <a:noFill/>
          </a:ln>
          <a:effectLst>
            <a:outerShdw blurRad="292100" dist="139700" dir="2700000" algn="tl" rotWithShape="0">
              <a:srgbClr val="333333">
                <a:alpha val="65000"/>
              </a:srgbClr>
            </a:outerShdw>
          </a:effectLst>
        </p:spPr>
      </p:pic>
      <p:pic>
        <p:nvPicPr>
          <p:cNvPr id="18" name="Ink 10">
            <a:extLst>
              <a:ext uri="{FF2B5EF4-FFF2-40B4-BE49-F238E27FC236}">
                <a16:creationId xmlns:a16="http://schemas.microsoft.com/office/drawing/2014/main" id="{0EB7BE60-4636-4509-9F6C-1A81D9E8323E}"/>
              </a:ext>
            </a:extLst>
          </p:cNvPr>
          <p:cNvPicPr>
            <a:picLocks noRot="1" noChangeAspect="1" noEditPoints="1" noChangeArrowheads="1" noChangeShapeType="1"/>
          </p:cNvPicPr>
          <p:nvPr/>
        </p:nvPicPr>
        <p:blipFill>
          <a:blip r:embed="rId4"/>
          <a:stretch>
            <a:fillRect/>
          </a:stretch>
        </p:blipFill>
        <p:spPr>
          <a:xfrm>
            <a:off x="11575094" y="5189773"/>
            <a:ext cx="962687" cy="423889"/>
          </a:xfrm>
          <a:prstGeom prst="rect">
            <a:avLst/>
          </a:prstGeom>
          <a:ln>
            <a:noFill/>
          </a:ln>
          <a:effectLst>
            <a:outerShdw blurRad="292100" dist="139700" dir="2700000" algn="tl" rotWithShape="0">
              <a:srgbClr val="333333">
                <a:alpha val="65000"/>
              </a:srgbClr>
            </a:outerShdw>
          </a:effectLst>
        </p:spPr>
      </p:pic>
      <p:sp>
        <p:nvSpPr>
          <p:cNvPr id="19" name="Text Placeholder 11">
            <a:extLst>
              <a:ext uri="{FF2B5EF4-FFF2-40B4-BE49-F238E27FC236}">
                <a16:creationId xmlns:a16="http://schemas.microsoft.com/office/drawing/2014/main" id="{0D00234B-C814-4AF6-91CB-AF370C493162}"/>
              </a:ext>
            </a:extLst>
          </p:cNvPr>
          <p:cNvSpPr txBox="1">
            <a:spLocks/>
          </p:cNvSpPr>
          <p:nvPr/>
        </p:nvSpPr>
        <p:spPr>
          <a:xfrm>
            <a:off x="541867" y="3773954"/>
            <a:ext cx="5826001" cy="2763520"/>
          </a:xfrm>
          <a:prstGeom prst="rect">
            <a:avLst/>
          </a:prstGeom>
        </p:spPr>
        <p:txBody>
          <a:bodyPr vert="horz" lIns="97536" tIns="48768" rIns="97536" bIns="48768" rtlCol="0">
            <a:normAutofit/>
          </a:bodyPr>
          <a:lstStyle>
            <a:lvl1pPr marL="228600" indent="-228600" algn="l" defTabSz="914400" rtl="0" eaLnBrk="1" latinLnBrk="0" hangingPunct="1">
              <a:lnSpc>
                <a:spcPct val="100000"/>
              </a:lnSpc>
              <a:spcBef>
                <a:spcPts val="1000"/>
              </a:spcBef>
              <a:spcAft>
                <a:spcPts val="600"/>
              </a:spcAft>
              <a:buClr>
                <a:schemeClr val="accent1"/>
              </a:buClr>
              <a:buSzPct val="150000"/>
              <a:buFont typeface="Arial"/>
              <a:buChar char="•"/>
              <a:defRPr sz="1600" kern="1200">
                <a:solidFill>
                  <a:srgbClr val="3B4559"/>
                </a:solidFill>
                <a:latin typeface="Arial" charset="0"/>
                <a:ea typeface="Arial" charset="0"/>
                <a:cs typeface="Arial" charset="0"/>
              </a:defRPr>
            </a:lvl1pPr>
            <a:lvl2pPr marL="685800" indent="-228600" algn="l" defTabSz="914400" rtl="0" eaLnBrk="1" latinLnBrk="0" hangingPunct="1">
              <a:lnSpc>
                <a:spcPct val="100000"/>
              </a:lnSpc>
              <a:spcBef>
                <a:spcPts val="500"/>
              </a:spcBef>
              <a:spcAft>
                <a:spcPts val="600"/>
              </a:spcAft>
              <a:buClr>
                <a:schemeClr val="tx2"/>
              </a:buClr>
              <a:buSzPct val="100000"/>
              <a:buFont typeface=".AppleSystemUIFont" charset="-120"/>
              <a:buChar char="–"/>
              <a:defRPr sz="1400" kern="1200">
                <a:solidFill>
                  <a:srgbClr val="3B4559"/>
                </a:solidFill>
                <a:latin typeface="Arial" charset="0"/>
                <a:ea typeface="Arial" charset="0"/>
                <a:cs typeface="Arial" charset="0"/>
              </a:defRPr>
            </a:lvl2pPr>
            <a:lvl3pPr marL="1143000" indent="-228600" algn="l" defTabSz="914400" rtl="0" eaLnBrk="1" latinLnBrk="0" hangingPunct="1">
              <a:lnSpc>
                <a:spcPct val="100000"/>
              </a:lnSpc>
              <a:spcBef>
                <a:spcPts val="500"/>
              </a:spcBef>
              <a:spcAft>
                <a:spcPts val="600"/>
              </a:spcAft>
              <a:buClr>
                <a:schemeClr val="tx2"/>
              </a:buClr>
              <a:buSzPct val="100000"/>
              <a:buFont typeface=".AppleSystemUIFont" charset="-120"/>
              <a:buChar char="–"/>
              <a:defRPr sz="1400" kern="1200">
                <a:solidFill>
                  <a:srgbClr val="3B4559"/>
                </a:solidFill>
                <a:latin typeface="Arial" charset="0"/>
                <a:ea typeface="Arial" charset="0"/>
                <a:cs typeface="Arial" charset="0"/>
              </a:defRPr>
            </a:lvl3pPr>
            <a:lvl4pPr marL="1600200" indent="-228600" algn="l" defTabSz="914400" rtl="0" eaLnBrk="1" latinLnBrk="0" hangingPunct="1">
              <a:lnSpc>
                <a:spcPct val="100000"/>
              </a:lnSpc>
              <a:spcBef>
                <a:spcPts val="500"/>
              </a:spcBef>
              <a:spcAft>
                <a:spcPts val="600"/>
              </a:spcAft>
              <a:buClr>
                <a:schemeClr val="tx2"/>
              </a:buClr>
              <a:buSzPct val="100000"/>
              <a:buFont typeface=".AppleSystemUIFont" charset="-120"/>
              <a:buChar char="–"/>
              <a:defRPr sz="1400" kern="1200">
                <a:solidFill>
                  <a:srgbClr val="3B4559"/>
                </a:solidFill>
                <a:latin typeface="Arial" charset="0"/>
                <a:ea typeface="Arial" charset="0"/>
                <a:cs typeface="Arial" charset="0"/>
              </a:defRPr>
            </a:lvl4pPr>
            <a:lvl5pPr marL="2057400" indent="-228600" algn="l" defTabSz="914400" rtl="0" eaLnBrk="1" latinLnBrk="0" hangingPunct="1">
              <a:lnSpc>
                <a:spcPct val="100000"/>
              </a:lnSpc>
              <a:spcBef>
                <a:spcPts val="500"/>
              </a:spcBef>
              <a:spcAft>
                <a:spcPts val="600"/>
              </a:spcAft>
              <a:buClr>
                <a:schemeClr val="tx2"/>
              </a:buClr>
              <a:buSzPct val="100000"/>
              <a:buFont typeface=".AppleSystemUIFont" charset="-120"/>
              <a:buChar char="–"/>
              <a:defRPr sz="1400" kern="1200">
                <a:solidFill>
                  <a:srgbClr val="3B4559"/>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43848" indent="-243848" defTabSz="975390" fontAlgn="auto">
              <a:spcBef>
                <a:spcPts val="1067"/>
              </a:spcBef>
              <a:spcAft>
                <a:spcPts val="640"/>
              </a:spcAft>
              <a:buClr>
                <a:srgbClr val="00C389"/>
              </a:buClr>
            </a:pPr>
            <a:r>
              <a:rPr lang="en-US" sz="2987" dirty="0"/>
              <a:t>Pick Your Questions</a:t>
            </a:r>
          </a:p>
          <a:p>
            <a:pPr marL="243848" indent="-243848" defTabSz="975390" fontAlgn="auto">
              <a:spcBef>
                <a:spcPts val="1067"/>
              </a:spcBef>
              <a:spcAft>
                <a:spcPts val="640"/>
              </a:spcAft>
              <a:buClr>
                <a:srgbClr val="00C389"/>
              </a:buClr>
            </a:pPr>
            <a:r>
              <a:rPr lang="en-US" sz="2987" dirty="0"/>
              <a:t>Prepare for the Questions You Will Be Asked</a:t>
            </a:r>
          </a:p>
          <a:p>
            <a:pPr marL="243848" indent="-243848" defTabSz="975390" fontAlgn="auto">
              <a:spcBef>
                <a:spcPts val="1067"/>
              </a:spcBef>
              <a:spcAft>
                <a:spcPts val="640"/>
              </a:spcAft>
              <a:buClr>
                <a:srgbClr val="00C389"/>
              </a:buClr>
            </a:pPr>
            <a:r>
              <a:rPr lang="en-US" sz="2987" dirty="0"/>
              <a:t>Take Notes</a:t>
            </a:r>
          </a:p>
          <a:p>
            <a:pPr marL="243848" indent="-243848" defTabSz="975390" fontAlgn="auto">
              <a:spcBef>
                <a:spcPts val="1067"/>
              </a:spcBef>
              <a:spcAft>
                <a:spcPts val="640"/>
              </a:spcAft>
              <a:buClr>
                <a:srgbClr val="00C389"/>
              </a:buClr>
            </a:pPr>
            <a:endParaRPr lang="en-US" sz="1707" dirty="0"/>
          </a:p>
          <a:p>
            <a:pPr marL="243848" indent="-243848" defTabSz="975390" fontAlgn="auto">
              <a:spcBef>
                <a:spcPts val="1067"/>
              </a:spcBef>
              <a:spcAft>
                <a:spcPts val="640"/>
              </a:spcAft>
              <a:buClr>
                <a:srgbClr val="00C389"/>
              </a:buClr>
            </a:pPr>
            <a:endParaRPr lang="en-US" sz="1707" dirty="0"/>
          </a:p>
          <a:p>
            <a:pPr marL="243848" indent="-243848" defTabSz="975390" fontAlgn="auto">
              <a:spcBef>
                <a:spcPts val="1067"/>
              </a:spcBef>
              <a:spcAft>
                <a:spcPts val="640"/>
              </a:spcAft>
              <a:buClr>
                <a:srgbClr val="00C389"/>
              </a:buClr>
            </a:pPr>
            <a:endParaRPr lang="en-US" sz="1707" dirty="0"/>
          </a:p>
        </p:txBody>
      </p:sp>
      <p:sp>
        <p:nvSpPr>
          <p:cNvPr id="7" name="Rectangle 6">
            <a:extLst>
              <a:ext uri="{FF2B5EF4-FFF2-40B4-BE49-F238E27FC236}">
                <a16:creationId xmlns:a16="http://schemas.microsoft.com/office/drawing/2014/main" id="{3CF62D34-29B8-43A1-9B3C-4C214A5D218A}"/>
              </a:ext>
            </a:extLst>
          </p:cNvPr>
          <p:cNvSpPr/>
          <p:nvPr/>
        </p:nvSpPr>
        <p:spPr>
          <a:xfrm>
            <a:off x="5874582" y="6051156"/>
            <a:ext cx="1172353" cy="1314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fontAlgn="auto">
              <a:spcBef>
                <a:spcPts val="0"/>
              </a:spcBef>
              <a:spcAft>
                <a:spcPts val="0"/>
              </a:spcAft>
            </a:pPr>
            <a:endParaRPr lang="en-US" sz="1920">
              <a:solidFill>
                <a:srgbClr val="FFFFFF"/>
              </a:solidFill>
              <a:latin typeface="Arial"/>
            </a:endParaRPr>
          </a:p>
        </p:txBody>
      </p:sp>
      <p:pic>
        <p:nvPicPr>
          <p:cNvPr id="10" name="Picture 9">
            <a:extLst>
              <a:ext uri="{FF2B5EF4-FFF2-40B4-BE49-F238E27FC236}">
                <a16:creationId xmlns:a16="http://schemas.microsoft.com/office/drawing/2014/main" id="{4E67B9B6-02B7-4224-90E7-0271929E2B75}"/>
              </a:ext>
            </a:extLst>
          </p:cNvPr>
          <p:cNvPicPr>
            <a:picLocks noChangeAspect="1"/>
          </p:cNvPicPr>
          <p:nvPr/>
        </p:nvPicPr>
        <p:blipFill>
          <a:blip r:embed="rId5"/>
          <a:stretch>
            <a:fillRect/>
          </a:stretch>
        </p:blipFill>
        <p:spPr>
          <a:xfrm>
            <a:off x="7195161" y="1394285"/>
            <a:ext cx="5581323" cy="6513098"/>
          </a:xfrm>
          <a:prstGeom prst="rect">
            <a:avLst/>
          </a:prstGeom>
          <a:ln>
            <a:noFill/>
          </a:ln>
          <a:effectLst>
            <a:outerShdw blurRad="292100" dist="139700" dir="2700000" algn="tl" rotWithShape="0">
              <a:srgbClr val="333333">
                <a:alpha val="65000"/>
              </a:srgbClr>
            </a:outerShdw>
          </a:effectLst>
        </p:spPr>
      </p:pic>
      <p:pic>
        <p:nvPicPr>
          <p:cNvPr id="20" name="Ink 7">
            <a:extLst>
              <a:ext uri="{FF2B5EF4-FFF2-40B4-BE49-F238E27FC236}">
                <a16:creationId xmlns:a16="http://schemas.microsoft.com/office/drawing/2014/main" id="{770F7E93-13D7-41C3-8C93-38CD3BCB9F7E}"/>
              </a:ext>
            </a:extLst>
          </p:cNvPr>
          <p:cNvPicPr>
            <a:picLocks noRot="1" noChangeAspect="1" noEditPoints="1" noChangeArrowheads="1" noChangeShapeType="1"/>
          </p:cNvPicPr>
          <p:nvPr/>
        </p:nvPicPr>
        <p:blipFill>
          <a:blip r:embed="rId3"/>
          <a:stretch>
            <a:fillRect/>
          </a:stretch>
        </p:blipFill>
        <p:spPr>
          <a:xfrm>
            <a:off x="10394703" y="3218160"/>
            <a:ext cx="1060599" cy="873773"/>
          </a:xfrm>
          <a:prstGeom prst="rect">
            <a:avLst/>
          </a:prstGeom>
          <a:ln>
            <a:noFill/>
          </a:ln>
          <a:effectLst>
            <a:outerShdw blurRad="292100" dist="139700" dir="2700000" algn="tl" rotWithShape="0">
              <a:srgbClr val="333333">
                <a:alpha val="65000"/>
              </a:srgbClr>
            </a:outerShdw>
          </a:effectLst>
        </p:spPr>
      </p:pic>
      <p:pic>
        <p:nvPicPr>
          <p:cNvPr id="21" name="Ink 10">
            <a:extLst>
              <a:ext uri="{FF2B5EF4-FFF2-40B4-BE49-F238E27FC236}">
                <a16:creationId xmlns:a16="http://schemas.microsoft.com/office/drawing/2014/main" id="{7F72C049-7055-42F5-A37F-9F5606491391}"/>
              </a:ext>
            </a:extLst>
          </p:cNvPr>
          <p:cNvPicPr>
            <a:picLocks noRot="1" noChangeAspect="1" noEditPoints="1" noChangeArrowheads="1" noChangeShapeType="1"/>
          </p:cNvPicPr>
          <p:nvPr/>
        </p:nvPicPr>
        <p:blipFill>
          <a:blip r:embed="rId4"/>
          <a:stretch>
            <a:fillRect/>
          </a:stretch>
        </p:blipFill>
        <p:spPr>
          <a:xfrm>
            <a:off x="10428496" y="3886290"/>
            <a:ext cx="1748780" cy="770020"/>
          </a:xfrm>
          <a:prstGeom prst="rect">
            <a:avLst/>
          </a:prstGeom>
          <a:ln>
            <a:noFill/>
          </a:ln>
          <a:effectLst>
            <a:outerShdw blurRad="292100" dist="139700" dir="2700000" algn="tl" rotWithShape="0">
              <a:srgbClr val="333333">
                <a:alpha val="65000"/>
              </a:srgbClr>
            </a:outerShdw>
          </a:effectLst>
        </p:spPr>
      </p:pic>
      <p:pic>
        <p:nvPicPr>
          <p:cNvPr id="22" name="Ink 7">
            <a:extLst>
              <a:ext uri="{FF2B5EF4-FFF2-40B4-BE49-F238E27FC236}">
                <a16:creationId xmlns:a16="http://schemas.microsoft.com/office/drawing/2014/main" id="{6DADEAAF-21F8-4DC3-9FAE-7C58AE2C7D44}"/>
              </a:ext>
            </a:extLst>
          </p:cNvPr>
          <p:cNvPicPr>
            <a:picLocks noRot="1" noChangeAspect="1" noEditPoints="1" noChangeArrowheads="1" noChangeShapeType="1"/>
          </p:cNvPicPr>
          <p:nvPr/>
        </p:nvPicPr>
        <p:blipFill>
          <a:blip r:embed="rId3"/>
          <a:stretch>
            <a:fillRect/>
          </a:stretch>
        </p:blipFill>
        <p:spPr>
          <a:xfrm>
            <a:off x="10394704" y="6610476"/>
            <a:ext cx="628805" cy="491504"/>
          </a:xfrm>
          <a:prstGeom prst="rect">
            <a:avLst/>
          </a:prstGeom>
          <a:ln>
            <a:noFill/>
          </a:ln>
          <a:effectLst>
            <a:outerShdw blurRad="292100" dist="139700" dir="2700000" algn="tl" rotWithShape="0">
              <a:srgbClr val="333333">
                <a:alpha val="65000"/>
              </a:srgbClr>
            </a:outerShdw>
          </a:effectLst>
        </p:spPr>
      </p:pic>
      <p:pic>
        <p:nvPicPr>
          <p:cNvPr id="23" name="Ink 10">
            <a:extLst>
              <a:ext uri="{FF2B5EF4-FFF2-40B4-BE49-F238E27FC236}">
                <a16:creationId xmlns:a16="http://schemas.microsoft.com/office/drawing/2014/main" id="{39E17F3A-0F8F-4503-9AC1-4C9B41BBC661}"/>
              </a:ext>
            </a:extLst>
          </p:cNvPr>
          <p:cNvPicPr>
            <a:picLocks noRot="1" noChangeAspect="1" noEditPoints="1" noChangeArrowheads="1" noChangeShapeType="1"/>
          </p:cNvPicPr>
          <p:nvPr/>
        </p:nvPicPr>
        <p:blipFill>
          <a:blip r:embed="rId4"/>
          <a:stretch>
            <a:fillRect/>
          </a:stretch>
        </p:blipFill>
        <p:spPr>
          <a:xfrm>
            <a:off x="10407977" y="7101981"/>
            <a:ext cx="1622406" cy="714375"/>
          </a:xfrm>
          <a:prstGeom prst="rect">
            <a:avLst/>
          </a:prstGeom>
          <a:ln>
            <a:noFill/>
          </a:ln>
          <a:effectLst>
            <a:outerShdw blurRad="292100" dist="139700" dir="2700000" algn="tl" rotWithShape="0">
              <a:srgbClr val="333333">
                <a:alpha val="65000"/>
              </a:srgbClr>
            </a:outerShdw>
          </a:effectLst>
        </p:spPr>
      </p:pic>
      <p:pic>
        <p:nvPicPr>
          <p:cNvPr id="24" name="Ink 7">
            <a:extLst>
              <a:ext uri="{FF2B5EF4-FFF2-40B4-BE49-F238E27FC236}">
                <a16:creationId xmlns:a16="http://schemas.microsoft.com/office/drawing/2014/main" id="{3A7EA81A-FF13-43B1-BC88-44B7B330F705}"/>
              </a:ext>
            </a:extLst>
          </p:cNvPr>
          <p:cNvPicPr>
            <a:picLocks noRot="1" noChangeAspect="1" noEditPoints="1" noChangeArrowheads="1" noChangeShapeType="1"/>
          </p:cNvPicPr>
          <p:nvPr/>
        </p:nvPicPr>
        <p:blipFill>
          <a:blip r:embed="rId3"/>
          <a:stretch>
            <a:fillRect/>
          </a:stretch>
        </p:blipFill>
        <p:spPr>
          <a:xfrm>
            <a:off x="10490429" y="5322885"/>
            <a:ext cx="549548" cy="452745"/>
          </a:xfrm>
          <a:prstGeom prst="rect">
            <a:avLst/>
          </a:prstGeom>
          <a:ln>
            <a:noFill/>
          </a:ln>
          <a:effectLst>
            <a:outerShdw blurRad="292100" dist="139700" dir="2700000" algn="tl" rotWithShape="0">
              <a:srgbClr val="333333">
                <a:alpha val="65000"/>
              </a:srgbClr>
            </a:outerShdw>
          </a:effectLst>
        </p:spPr>
      </p:pic>
      <p:pic>
        <p:nvPicPr>
          <p:cNvPr id="25" name="Ink 10">
            <a:extLst>
              <a:ext uri="{FF2B5EF4-FFF2-40B4-BE49-F238E27FC236}">
                <a16:creationId xmlns:a16="http://schemas.microsoft.com/office/drawing/2014/main" id="{9EF467B4-592A-4DF7-A1DD-B4FC62D37477}"/>
              </a:ext>
            </a:extLst>
          </p:cNvPr>
          <p:cNvPicPr>
            <a:picLocks noRot="1" noChangeAspect="1" noEditPoints="1" noChangeArrowheads="1" noChangeShapeType="1"/>
          </p:cNvPicPr>
          <p:nvPr/>
        </p:nvPicPr>
        <p:blipFill>
          <a:blip r:embed="rId4"/>
          <a:stretch>
            <a:fillRect/>
          </a:stretch>
        </p:blipFill>
        <p:spPr>
          <a:xfrm>
            <a:off x="11182706" y="5189773"/>
            <a:ext cx="1002852" cy="441574"/>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4236440894"/>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wipe(left)">
                                      <p:cBhvr>
                                        <p:cTn id="14" dur="500"/>
                                        <p:tgtEl>
                                          <p:spTgt spid="24"/>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left)">
                                      <p:cBhvr>
                                        <p:cTn id="18" dur="500"/>
                                        <p:tgtEl>
                                          <p:spTgt spid="2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left)">
                                      <p:cBhvr>
                                        <p:cTn id="22" dur="500"/>
                                        <p:tgtEl>
                                          <p:spTgt spid="22"/>
                                        </p:tgtEl>
                                      </p:cBhvr>
                                    </p:animEffect>
                                  </p:childTnLst>
                                </p:cTn>
                              </p:par>
                            </p:childTnLst>
                          </p:cTn>
                        </p:par>
                        <p:par>
                          <p:cTn id="23" fill="hold">
                            <p:stCondLst>
                              <p:cond delay="2000"/>
                            </p:stCondLst>
                            <p:childTnLst>
                              <p:par>
                                <p:cTn id="24" presetID="22" presetClass="entr" presetSubtype="8"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wipe(left)">
                                      <p:cBhvr>
                                        <p:cTn id="2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70475F-71DB-4781-A827-B7F0A9EE7798}"/>
              </a:ext>
            </a:extLst>
          </p:cNvPr>
          <p:cNvPicPr>
            <a:picLocks noChangeAspect="1"/>
          </p:cNvPicPr>
          <p:nvPr/>
        </p:nvPicPr>
        <p:blipFill>
          <a:blip r:embed="rId3"/>
          <a:stretch>
            <a:fillRect/>
          </a:stretch>
        </p:blipFill>
        <p:spPr>
          <a:xfrm>
            <a:off x="48919" y="1443421"/>
            <a:ext cx="12746176" cy="6781217"/>
          </a:xfrm>
          <a:prstGeom prst="rect">
            <a:avLst/>
          </a:prstGeom>
        </p:spPr>
      </p:pic>
      <p:sp>
        <p:nvSpPr>
          <p:cNvPr id="6" name="Arrow: Left 5">
            <a:extLst>
              <a:ext uri="{FF2B5EF4-FFF2-40B4-BE49-F238E27FC236}">
                <a16:creationId xmlns:a16="http://schemas.microsoft.com/office/drawing/2014/main" id="{9C95E59C-477A-4532-8E19-AE18C24FF7EE}"/>
              </a:ext>
            </a:extLst>
          </p:cNvPr>
          <p:cNvSpPr/>
          <p:nvPr/>
        </p:nvSpPr>
        <p:spPr bwMode="auto">
          <a:xfrm>
            <a:off x="7548331" y="4114450"/>
            <a:ext cx="5246765" cy="3197948"/>
          </a:xfrm>
          <a:prstGeom prst="leftArrow">
            <a:avLst/>
          </a:prstGeom>
          <a:solidFill>
            <a:srgbClr val="00C98C"/>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3413" dirty="0">
                <a:solidFill>
                  <a:srgbClr val="FFFFFF"/>
                </a:solidFill>
                <a:ea typeface="+mn-ea"/>
                <a:cs typeface="+mn-cs"/>
              </a:rPr>
              <a:t>Pick the question you want your manager to ask you</a:t>
            </a:r>
          </a:p>
        </p:txBody>
      </p:sp>
      <p:sp>
        <p:nvSpPr>
          <p:cNvPr id="8" name="Arrow: Left 7">
            <a:extLst>
              <a:ext uri="{FF2B5EF4-FFF2-40B4-BE49-F238E27FC236}">
                <a16:creationId xmlns:a16="http://schemas.microsoft.com/office/drawing/2014/main" id="{1C3503F5-7367-4741-93F9-F25E1D23314A}"/>
              </a:ext>
            </a:extLst>
          </p:cNvPr>
          <p:cNvSpPr/>
          <p:nvPr/>
        </p:nvSpPr>
        <p:spPr bwMode="auto">
          <a:xfrm>
            <a:off x="7256844" y="1528963"/>
            <a:ext cx="5246765" cy="2736893"/>
          </a:xfrm>
          <a:prstGeom prst="leftArrow">
            <a:avLst/>
          </a:prstGeom>
          <a:solidFill>
            <a:srgbClr val="127AD1"/>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2987" dirty="0">
                <a:solidFill>
                  <a:srgbClr val="FFFFFF"/>
                </a:solidFill>
                <a:ea typeface="+mn-ea"/>
                <a:cs typeface="+mn-cs"/>
              </a:rPr>
              <a:t>You start the meeting with one thing that has gone well</a:t>
            </a:r>
          </a:p>
        </p:txBody>
      </p:sp>
    </p:spTree>
    <p:custDataLst>
      <p:tags r:id="rId1"/>
    </p:custDataLst>
    <p:extLst>
      <p:ext uri="{BB962C8B-B14F-4D97-AF65-F5344CB8AC3E}">
        <p14:creationId xmlns:p14="http://schemas.microsoft.com/office/powerpoint/2010/main" val="3610346997"/>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2463800" y="304800"/>
            <a:ext cx="7911253" cy="2193419"/>
          </a:xfrm>
          <a:prstGeom prst="rect">
            <a:avLst/>
          </a:prstGeom>
          <a:noFill/>
        </p:spPr>
        <p:txBody>
          <a:bodyPr wrap="square" lIns="130046" tIns="65023" rIns="130046" bIns="65023" rtlCol="0">
            <a:spAutoFit/>
          </a:bodyPr>
          <a:lstStyle/>
          <a:p>
            <a:pPr algn="l"/>
            <a:r>
              <a:rPr lang="en-US" sz="5400" b="1" dirty="0">
                <a:latin typeface="Calibri" pitchFamily="34" charset="0"/>
              </a:rPr>
              <a:t>Map Your Career </a:t>
            </a:r>
            <a:r>
              <a:rPr lang="en-US" sz="8000" b="1" dirty="0">
                <a:latin typeface="Calibri" pitchFamily="34" charset="0"/>
              </a:rPr>
              <a:t>Pattern</a:t>
            </a:r>
          </a:p>
        </p:txBody>
      </p:sp>
      <p:sp>
        <p:nvSpPr>
          <p:cNvPr id="10" name="TextBox 9"/>
          <p:cNvSpPr txBox="1"/>
          <p:nvPr/>
        </p:nvSpPr>
        <p:spPr>
          <a:xfrm>
            <a:off x="8636001" y="228600"/>
            <a:ext cx="4114799" cy="10564941"/>
          </a:xfrm>
          <a:prstGeom prst="rect">
            <a:avLst/>
          </a:prstGeom>
          <a:noFill/>
        </p:spPr>
        <p:txBody>
          <a:bodyPr wrap="square" lIns="130046" tIns="65023" rIns="130046" bIns="65023" rtlCol="0">
            <a:spAutoFit/>
          </a:bodyPr>
          <a:lstStyle/>
          <a:p>
            <a:pPr algn="l"/>
            <a:r>
              <a:rPr lang="en-US" sz="3200" b="1" dirty="0">
                <a:solidFill>
                  <a:srgbClr val="0080C0"/>
                </a:solidFill>
                <a:latin typeface="Calibri" pitchFamily="34" charset="0"/>
              </a:rPr>
              <a:t>Instructions:</a:t>
            </a:r>
            <a:br>
              <a:rPr lang="en-US" sz="3200" dirty="0">
                <a:solidFill>
                  <a:schemeClr val="tx1"/>
                </a:solidFill>
                <a:latin typeface="Calibri" pitchFamily="34" charset="0"/>
              </a:rPr>
            </a:br>
            <a:r>
              <a:rPr lang="en-US" sz="3200" dirty="0">
                <a:solidFill>
                  <a:schemeClr val="tx1"/>
                </a:solidFill>
                <a:latin typeface="Calibri" pitchFamily="34" charset="0"/>
              </a:rPr>
              <a:t>1. Start with your first professional job.</a:t>
            </a:r>
          </a:p>
          <a:p>
            <a:pPr algn="l"/>
            <a:endParaRPr lang="en-US" sz="3200" dirty="0">
              <a:solidFill>
                <a:schemeClr val="tx1"/>
              </a:solidFill>
              <a:latin typeface="Calibri" pitchFamily="34" charset="0"/>
            </a:endParaRPr>
          </a:p>
          <a:p>
            <a:pPr algn="l"/>
            <a:r>
              <a:rPr lang="en-US" sz="3200" dirty="0">
                <a:solidFill>
                  <a:schemeClr val="tx1"/>
                </a:solidFill>
                <a:latin typeface="Calibri" pitchFamily="34" charset="0"/>
              </a:rPr>
              <a:t>2. Note the events, people, and experiences that influenced your career.</a:t>
            </a:r>
          </a:p>
          <a:p>
            <a:pPr algn="l"/>
            <a:endParaRPr lang="en-US" sz="3200" dirty="0">
              <a:solidFill>
                <a:schemeClr val="tx1"/>
              </a:solidFill>
              <a:latin typeface="Calibri" pitchFamily="34" charset="0"/>
            </a:endParaRPr>
          </a:p>
          <a:p>
            <a:pPr algn="l"/>
            <a:r>
              <a:rPr lang="en-US" sz="3200" dirty="0">
                <a:solidFill>
                  <a:schemeClr val="tx1"/>
                </a:solidFill>
                <a:latin typeface="Calibri" pitchFamily="34" charset="0"/>
              </a:rPr>
              <a:t>3. At this point in time, what’s one thing that will propel you forward in terms of growing your experience?  </a:t>
            </a:r>
          </a:p>
          <a:p>
            <a:pPr algn="l"/>
            <a:r>
              <a:rPr lang="en-US" sz="2800" dirty="0">
                <a:solidFill>
                  <a:schemeClr val="bg1"/>
                </a:solidFill>
                <a:latin typeface="Calibri" pitchFamily="34" charset="0"/>
              </a:rPr>
              <a:t> </a:t>
            </a:r>
          </a:p>
          <a:p>
            <a:endParaRPr lang="en-US" sz="2800" b="1" dirty="0">
              <a:solidFill>
                <a:schemeClr val="bg1"/>
              </a:solidFill>
              <a:latin typeface="Calibri" pitchFamily="34" charset="0"/>
            </a:endParaRPr>
          </a:p>
          <a:p>
            <a:endParaRPr lang="en-US" b="1" dirty="0">
              <a:solidFill>
                <a:srgbClr val="0070C0"/>
              </a:solidFill>
              <a:latin typeface="Calibri" pitchFamily="34" charset="0"/>
            </a:endParaRPr>
          </a:p>
          <a:p>
            <a:endParaRPr lang="en-US" b="1" dirty="0">
              <a:solidFill>
                <a:srgbClr val="0070C0"/>
              </a:solidFill>
            </a:endParaRPr>
          </a:p>
          <a:p>
            <a:endParaRPr lang="en-US" b="1" dirty="0">
              <a:solidFill>
                <a:srgbClr val="0070C0"/>
              </a:solidFill>
            </a:endParaRPr>
          </a:p>
        </p:txBody>
      </p:sp>
      <p:sp>
        <p:nvSpPr>
          <p:cNvPr id="13" name="Up Arrow 12"/>
          <p:cNvSpPr/>
          <p:nvPr/>
        </p:nvSpPr>
        <p:spPr bwMode="auto">
          <a:xfrm>
            <a:off x="25400" y="76200"/>
            <a:ext cx="1447800" cy="9067800"/>
          </a:xfrm>
          <a:prstGeom prst="up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Your Growth </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4" name="Right Arrow 13"/>
          <p:cNvSpPr/>
          <p:nvPr/>
        </p:nvSpPr>
        <p:spPr bwMode="auto">
          <a:xfrm>
            <a:off x="406400" y="8763000"/>
            <a:ext cx="11277600" cy="1219200"/>
          </a:xfrm>
          <a:prstGeom prst="right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Over Time (years)</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6" name="Freeform 15"/>
          <p:cNvSpPr/>
          <p:nvPr/>
        </p:nvSpPr>
        <p:spPr bwMode="auto">
          <a:xfrm>
            <a:off x="1119352" y="2301766"/>
            <a:ext cx="7315200" cy="6731875"/>
          </a:xfrm>
          <a:custGeom>
            <a:avLst/>
            <a:gdLst>
              <a:gd name="connsiteX0" fmla="*/ 0 w 7315200"/>
              <a:gd name="connsiteY0" fmla="*/ 6731875 h 6731875"/>
              <a:gd name="connsiteX1" fmla="*/ 78827 w 7315200"/>
              <a:gd name="connsiteY1" fmla="*/ 6700344 h 6731875"/>
              <a:gd name="connsiteX2" fmla="*/ 110358 w 7315200"/>
              <a:gd name="connsiteY2" fmla="*/ 6653048 h 6731875"/>
              <a:gd name="connsiteX3" fmla="*/ 204951 w 7315200"/>
              <a:gd name="connsiteY3" fmla="*/ 6621517 h 6731875"/>
              <a:gd name="connsiteX4" fmla="*/ 299545 w 7315200"/>
              <a:gd name="connsiteY4" fmla="*/ 6558455 h 6731875"/>
              <a:gd name="connsiteX5" fmla="*/ 346841 w 7315200"/>
              <a:gd name="connsiteY5" fmla="*/ 6542689 h 6731875"/>
              <a:gd name="connsiteX6" fmla="*/ 441434 w 7315200"/>
              <a:gd name="connsiteY6" fmla="*/ 6463862 h 6731875"/>
              <a:gd name="connsiteX7" fmla="*/ 488731 w 7315200"/>
              <a:gd name="connsiteY7" fmla="*/ 6432331 h 6731875"/>
              <a:gd name="connsiteX8" fmla="*/ 551793 w 7315200"/>
              <a:gd name="connsiteY8" fmla="*/ 6385034 h 6731875"/>
              <a:gd name="connsiteX9" fmla="*/ 599089 w 7315200"/>
              <a:gd name="connsiteY9" fmla="*/ 6290441 h 6731875"/>
              <a:gd name="connsiteX10" fmla="*/ 646386 w 7315200"/>
              <a:gd name="connsiteY10" fmla="*/ 6274675 h 6731875"/>
              <a:gd name="connsiteX11" fmla="*/ 693682 w 7315200"/>
              <a:gd name="connsiteY11" fmla="*/ 6243144 h 6731875"/>
              <a:gd name="connsiteX12" fmla="*/ 914400 w 7315200"/>
              <a:gd name="connsiteY12" fmla="*/ 6211613 h 6731875"/>
              <a:gd name="connsiteX13" fmla="*/ 961696 w 7315200"/>
              <a:gd name="connsiteY13" fmla="*/ 6180082 h 6731875"/>
              <a:gd name="connsiteX14" fmla="*/ 1008993 w 7315200"/>
              <a:gd name="connsiteY14" fmla="*/ 6164317 h 6731875"/>
              <a:gd name="connsiteX15" fmla="*/ 1040524 w 7315200"/>
              <a:gd name="connsiteY15" fmla="*/ 6117020 h 6731875"/>
              <a:gd name="connsiteX16" fmla="*/ 1087820 w 7315200"/>
              <a:gd name="connsiteY16" fmla="*/ 6069724 h 6731875"/>
              <a:gd name="connsiteX17" fmla="*/ 1119351 w 7315200"/>
              <a:gd name="connsiteY17" fmla="*/ 6022427 h 6731875"/>
              <a:gd name="connsiteX18" fmla="*/ 1166648 w 7315200"/>
              <a:gd name="connsiteY18" fmla="*/ 5975131 h 6731875"/>
              <a:gd name="connsiteX19" fmla="*/ 1229710 w 7315200"/>
              <a:gd name="connsiteY19" fmla="*/ 5880537 h 6731875"/>
              <a:gd name="connsiteX20" fmla="*/ 1277007 w 7315200"/>
              <a:gd name="connsiteY20" fmla="*/ 5849006 h 6731875"/>
              <a:gd name="connsiteX21" fmla="*/ 1418896 w 7315200"/>
              <a:gd name="connsiteY21" fmla="*/ 5817475 h 6731875"/>
              <a:gd name="connsiteX22" fmla="*/ 1481958 w 7315200"/>
              <a:gd name="connsiteY22" fmla="*/ 5801710 h 6731875"/>
              <a:gd name="connsiteX23" fmla="*/ 1529255 w 7315200"/>
              <a:gd name="connsiteY23" fmla="*/ 5785944 h 6731875"/>
              <a:gd name="connsiteX24" fmla="*/ 1844565 w 7315200"/>
              <a:gd name="connsiteY24" fmla="*/ 5770179 h 6731875"/>
              <a:gd name="connsiteX25" fmla="*/ 1970689 w 7315200"/>
              <a:gd name="connsiteY25" fmla="*/ 5754413 h 6731875"/>
              <a:gd name="connsiteX26" fmla="*/ 2333296 w 7315200"/>
              <a:gd name="connsiteY26" fmla="*/ 5738648 h 6731875"/>
              <a:gd name="connsiteX27" fmla="*/ 2427889 w 7315200"/>
              <a:gd name="connsiteY27" fmla="*/ 5707117 h 6731875"/>
              <a:gd name="connsiteX28" fmla="*/ 2475186 w 7315200"/>
              <a:gd name="connsiteY28" fmla="*/ 5691351 h 6731875"/>
              <a:gd name="connsiteX29" fmla="*/ 2506717 w 7315200"/>
              <a:gd name="connsiteY29" fmla="*/ 5644055 h 6731875"/>
              <a:gd name="connsiteX30" fmla="*/ 2554014 w 7315200"/>
              <a:gd name="connsiteY30" fmla="*/ 5612524 h 6731875"/>
              <a:gd name="connsiteX31" fmla="*/ 2569779 w 7315200"/>
              <a:gd name="connsiteY31" fmla="*/ 5565227 h 6731875"/>
              <a:gd name="connsiteX32" fmla="*/ 2632841 w 7315200"/>
              <a:gd name="connsiteY32" fmla="*/ 5454868 h 6731875"/>
              <a:gd name="connsiteX33" fmla="*/ 2648607 w 7315200"/>
              <a:gd name="connsiteY33" fmla="*/ 5407572 h 6731875"/>
              <a:gd name="connsiteX34" fmla="*/ 2695903 w 7315200"/>
              <a:gd name="connsiteY34" fmla="*/ 5344510 h 6731875"/>
              <a:gd name="connsiteX35" fmla="*/ 2758965 w 7315200"/>
              <a:gd name="connsiteY35" fmla="*/ 5234151 h 6731875"/>
              <a:gd name="connsiteX36" fmla="*/ 2790496 w 7315200"/>
              <a:gd name="connsiteY36" fmla="*/ 5186855 h 6731875"/>
              <a:gd name="connsiteX37" fmla="*/ 2806262 w 7315200"/>
              <a:gd name="connsiteY37" fmla="*/ 5139558 h 6731875"/>
              <a:gd name="connsiteX38" fmla="*/ 2869324 w 7315200"/>
              <a:gd name="connsiteY38" fmla="*/ 5029200 h 6731875"/>
              <a:gd name="connsiteX39" fmla="*/ 2932386 w 7315200"/>
              <a:gd name="connsiteY39" fmla="*/ 4840013 h 6731875"/>
              <a:gd name="connsiteX40" fmla="*/ 2979682 w 7315200"/>
              <a:gd name="connsiteY40" fmla="*/ 4729655 h 6731875"/>
              <a:gd name="connsiteX41" fmla="*/ 3090041 w 7315200"/>
              <a:gd name="connsiteY41" fmla="*/ 4698124 h 6731875"/>
              <a:gd name="connsiteX42" fmla="*/ 3137338 w 7315200"/>
              <a:gd name="connsiteY42" fmla="*/ 4666593 h 6731875"/>
              <a:gd name="connsiteX43" fmla="*/ 3184634 w 7315200"/>
              <a:gd name="connsiteY43" fmla="*/ 4650827 h 6731875"/>
              <a:gd name="connsiteX44" fmla="*/ 3389586 w 7315200"/>
              <a:gd name="connsiteY44" fmla="*/ 4603531 h 6731875"/>
              <a:gd name="connsiteX45" fmla="*/ 3484179 w 7315200"/>
              <a:gd name="connsiteY45" fmla="*/ 4524703 h 6731875"/>
              <a:gd name="connsiteX46" fmla="*/ 3563007 w 7315200"/>
              <a:gd name="connsiteY46" fmla="*/ 4430110 h 6731875"/>
              <a:gd name="connsiteX47" fmla="*/ 3610303 w 7315200"/>
              <a:gd name="connsiteY47" fmla="*/ 4382813 h 6731875"/>
              <a:gd name="connsiteX48" fmla="*/ 3657600 w 7315200"/>
              <a:gd name="connsiteY48" fmla="*/ 4288220 h 6731875"/>
              <a:gd name="connsiteX49" fmla="*/ 3673365 w 7315200"/>
              <a:gd name="connsiteY49" fmla="*/ 4240924 h 6731875"/>
              <a:gd name="connsiteX50" fmla="*/ 3704896 w 7315200"/>
              <a:gd name="connsiteY50" fmla="*/ 4177862 h 6731875"/>
              <a:gd name="connsiteX51" fmla="*/ 3720662 w 7315200"/>
              <a:gd name="connsiteY51" fmla="*/ 4114800 h 6731875"/>
              <a:gd name="connsiteX52" fmla="*/ 3736427 w 7315200"/>
              <a:gd name="connsiteY52" fmla="*/ 4067503 h 6731875"/>
              <a:gd name="connsiteX53" fmla="*/ 3752193 w 7315200"/>
              <a:gd name="connsiteY53" fmla="*/ 4004441 h 6731875"/>
              <a:gd name="connsiteX54" fmla="*/ 3815255 w 7315200"/>
              <a:gd name="connsiteY54" fmla="*/ 3846786 h 6731875"/>
              <a:gd name="connsiteX55" fmla="*/ 3878317 w 7315200"/>
              <a:gd name="connsiteY55" fmla="*/ 3704896 h 6731875"/>
              <a:gd name="connsiteX56" fmla="*/ 3909848 w 7315200"/>
              <a:gd name="connsiteY56" fmla="*/ 3610303 h 6731875"/>
              <a:gd name="connsiteX57" fmla="*/ 3925614 w 7315200"/>
              <a:gd name="connsiteY57" fmla="*/ 3563006 h 6731875"/>
              <a:gd name="connsiteX58" fmla="*/ 3957145 w 7315200"/>
              <a:gd name="connsiteY58" fmla="*/ 3515710 h 6731875"/>
              <a:gd name="connsiteX59" fmla="*/ 4035972 w 7315200"/>
              <a:gd name="connsiteY59" fmla="*/ 3373820 h 6731875"/>
              <a:gd name="connsiteX60" fmla="*/ 4051738 w 7315200"/>
              <a:gd name="connsiteY60" fmla="*/ 3326524 h 6731875"/>
              <a:gd name="connsiteX61" fmla="*/ 4114800 w 7315200"/>
              <a:gd name="connsiteY61" fmla="*/ 3231931 h 6731875"/>
              <a:gd name="connsiteX62" fmla="*/ 4193627 w 7315200"/>
              <a:gd name="connsiteY62" fmla="*/ 3058510 h 6731875"/>
              <a:gd name="connsiteX63" fmla="*/ 4225158 w 7315200"/>
              <a:gd name="connsiteY63" fmla="*/ 3011213 h 6731875"/>
              <a:gd name="connsiteX64" fmla="*/ 4256689 w 7315200"/>
              <a:gd name="connsiteY64" fmla="*/ 2932386 h 6731875"/>
              <a:gd name="connsiteX65" fmla="*/ 4303986 w 7315200"/>
              <a:gd name="connsiteY65" fmla="*/ 2853558 h 6731875"/>
              <a:gd name="connsiteX66" fmla="*/ 4319751 w 7315200"/>
              <a:gd name="connsiteY66" fmla="*/ 2806262 h 6731875"/>
              <a:gd name="connsiteX67" fmla="*/ 4351282 w 7315200"/>
              <a:gd name="connsiteY67" fmla="*/ 2727434 h 6731875"/>
              <a:gd name="connsiteX68" fmla="*/ 4382814 w 7315200"/>
              <a:gd name="connsiteY68" fmla="*/ 2680137 h 6731875"/>
              <a:gd name="connsiteX69" fmla="*/ 4430110 w 7315200"/>
              <a:gd name="connsiteY69" fmla="*/ 2490951 h 6731875"/>
              <a:gd name="connsiteX70" fmla="*/ 4445876 w 7315200"/>
              <a:gd name="connsiteY70" fmla="*/ 2443655 h 6731875"/>
              <a:gd name="connsiteX71" fmla="*/ 4493172 w 7315200"/>
              <a:gd name="connsiteY71" fmla="*/ 2412124 h 6731875"/>
              <a:gd name="connsiteX72" fmla="*/ 4556234 w 7315200"/>
              <a:gd name="connsiteY72" fmla="*/ 2333296 h 6731875"/>
              <a:gd name="connsiteX73" fmla="*/ 4587765 w 7315200"/>
              <a:gd name="connsiteY73" fmla="*/ 2286000 h 6731875"/>
              <a:gd name="connsiteX74" fmla="*/ 4619296 w 7315200"/>
              <a:gd name="connsiteY74" fmla="*/ 2254468 h 6731875"/>
              <a:gd name="connsiteX75" fmla="*/ 4698124 w 7315200"/>
              <a:gd name="connsiteY75" fmla="*/ 2144110 h 6731875"/>
              <a:gd name="connsiteX76" fmla="*/ 4745420 w 7315200"/>
              <a:gd name="connsiteY76" fmla="*/ 2112579 h 6731875"/>
              <a:gd name="connsiteX77" fmla="*/ 4871545 w 7315200"/>
              <a:gd name="connsiteY77" fmla="*/ 2033751 h 6731875"/>
              <a:gd name="connsiteX78" fmla="*/ 4966138 w 7315200"/>
              <a:gd name="connsiteY78" fmla="*/ 1986455 h 6731875"/>
              <a:gd name="connsiteX79" fmla="*/ 5060731 w 7315200"/>
              <a:gd name="connsiteY79" fmla="*/ 1939158 h 6731875"/>
              <a:gd name="connsiteX80" fmla="*/ 5108027 w 7315200"/>
              <a:gd name="connsiteY80" fmla="*/ 1907627 h 6731875"/>
              <a:gd name="connsiteX81" fmla="*/ 5202620 w 7315200"/>
              <a:gd name="connsiteY81" fmla="*/ 1876096 h 6731875"/>
              <a:gd name="connsiteX82" fmla="*/ 5249917 w 7315200"/>
              <a:gd name="connsiteY82" fmla="*/ 1860331 h 6731875"/>
              <a:gd name="connsiteX83" fmla="*/ 5360276 w 7315200"/>
              <a:gd name="connsiteY83" fmla="*/ 1844565 h 6731875"/>
              <a:gd name="connsiteX84" fmla="*/ 5407572 w 7315200"/>
              <a:gd name="connsiteY84" fmla="*/ 1828800 h 6731875"/>
              <a:gd name="connsiteX85" fmla="*/ 5470634 w 7315200"/>
              <a:gd name="connsiteY85" fmla="*/ 1813034 h 6731875"/>
              <a:gd name="connsiteX86" fmla="*/ 5565227 w 7315200"/>
              <a:gd name="connsiteY86" fmla="*/ 1734206 h 6731875"/>
              <a:gd name="connsiteX87" fmla="*/ 5628289 w 7315200"/>
              <a:gd name="connsiteY87" fmla="*/ 1686910 h 6731875"/>
              <a:gd name="connsiteX88" fmla="*/ 5722882 w 7315200"/>
              <a:gd name="connsiteY88" fmla="*/ 1623848 h 6731875"/>
              <a:gd name="connsiteX89" fmla="*/ 5754414 w 7315200"/>
              <a:gd name="connsiteY89" fmla="*/ 1592317 h 6731875"/>
              <a:gd name="connsiteX90" fmla="*/ 5785945 w 7315200"/>
              <a:gd name="connsiteY90" fmla="*/ 1529255 h 6731875"/>
              <a:gd name="connsiteX91" fmla="*/ 5817476 w 7315200"/>
              <a:gd name="connsiteY91" fmla="*/ 1481958 h 6731875"/>
              <a:gd name="connsiteX92" fmla="*/ 5864772 w 7315200"/>
              <a:gd name="connsiteY92" fmla="*/ 1387365 h 6731875"/>
              <a:gd name="connsiteX93" fmla="*/ 5927834 w 7315200"/>
              <a:gd name="connsiteY93" fmla="*/ 1371600 h 6731875"/>
              <a:gd name="connsiteX94" fmla="*/ 6022427 w 7315200"/>
              <a:gd name="connsiteY94" fmla="*/ 1340068 h 6731875"/>
              <a:gd name="connsiteX95" fmla="*/ 6479627 w 7315200"/>
              <a:gd name="connsiteY95" fmla="*/ 1308537 h 6731875"/>
              <a:gd name="connsiteX96" fmla="*/ 6574220 w 7315200"/>
              <a:gd name="connsiteY96" fmla="*/ 1277006 h 6731875"/>
              <a:gd name="connsiteX97" fmla="*/ 6637282 w 7315200"/>
              <a:gd name="connsiteY97" fmla="*/ 1229710 h 6731875"/>
              <a:gd name="connsiteX98" fmla="*/ 6716110 w 7315200"/>
              <a:gd name="connsiteY98" fmla="*/ 1150882 h 6731875"/>
              <a:gd name="connsiteX99" fmla="*/ 6763407 w 7315200"/>
              <a:gd name="connsiteY99" fmla="*/ 1103586 h 6731875"/>
              <a:gd name="connsiteX100" fmla="*/ 6842234 w 7315200"/>
              <a:gd name="connsiteY100" fmla="*/ 993227 h 6731875"/>
              <a:gd name="connsiteX101" fmla="*/ 6952593 w 7315200"/>
              <a:gd name="connsiteY101" fmla="*/ 851337 h 6731875"/>
              <a:gd name="connsiteX102" fmla="*/ 6984124 w 7315200"/>
              <a:gd name="connsiteY102" fmla="*/ 804041 h 6731875"/>
              <a:gd name="connsiteX103" fmla="*/ 7062951 w 7315200"/>
              <a:gd name="connsiteY103" fmla="*/ 630620 h 6731875"/>
              <a:gd name="connsiteX104" fmla="*/ 7078717 w 7315200"/>
              <a:gd name="connsiteY104" fmla="*/ 583324 h 6731875"/>
              <a:gd name="connsiteX105" fmla="*/ 7110248 w 7315200"/>
              <a:gd name="connsiteY105" fmla="*/ 536027 h 6731875"/>
              <a:gd name="connsiteX106" fmla="*/ 7157545 w 7315200"/>
              <a:gd name="connsiteY106" fmla="*/ 441434 h 6731875"/>
              <a:gd name="connsiteX107" fmla="*/ 7204841 w 7315200"/>
              <a:gd name="connsiteY107" fmla="*/ 346841 h 6731875"/>
              <a:gd name="connsiteX108" fmla="*/ 7236372 w 7315200"/>
              <a:gd name="connsiteY108" fmla="*/ 252248 h 6731875"/>
              <a:gd name="connsiteX109" fmla="*/ 7252138 w 7315200"/>
              <a:gd name="connsiteY109" fmla="*/ 204951 h 6731875"/>
              <a:gd name="connsiteX110" fmla="*/ 7283669 w 7315200"/>
              <a:gd name="connsiteY110" fmla="*/ 78827 h 6731875"/>
              <a:gd name="connsiteX111" fmla="*/ 7315200 w 7315200"/>
              <a:gd name="connsiteY111" fmla="*/ 0 h 67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315200" h="6731875">
                <a:moveTo>
                  <a:pt x="0" y="6731875"/>
                </a:moveTo>
                <a:cubicBezTo>
                  <a:pt x="26276" y="6721365"/>
                  <a:pt x="55799" y="6716793"/>
                  <a:pt x="78827" y="6700344"/>
                </a:cubicBezTo>
                <a:cubicBezTo>
                  <a:pt x="94245" y="6689331"/>
                  <a:pt x="94290" y="6663090"/>
                  <a:pt x="110358" y="6653048"/>
                </a:cubicBezTo>
                <a:cubicBezTo>
                  <a:pt x="138543" y="6635433"/>
                  <a:pt x="204951" y="6621517"/>
                  <a:pt x="204951" y="6621517"/>
                </a:cubicBezTo>
                <a:cubicBezTo>
                  <a:pt x="236482" y="6600496"/>
                  <a:pt x="263594" y="6570439"/>
                  <a:pt x="299545" y="6558455"/>
                </a:cubicBezTo>
                <a:cubicBezTo>
                  <a:pt x="315310" y="6553200"/>
                  <a:pt x="331977" y="6550121"/>
                  <a:pt x="346841" y="6542689"/>
                </a:cubicBezTo>
                <a:cubicBezTo>
                  <a:pt x="405559" y="6513330"/>
                  <a:pt x="389130" y="6507448"/>
                  <a:pt x="441434" y="6463862"/>
                </a:cubicBezTo>
                <a:cubicBezTo>
                  <a:pt x="455990" y="6451732"/>
                  <a:pt x="473312" y="6443344"/>
                  <a:pt x="488731" y="6432331"/>
                </a:cubicBezTo>
                <a:cubicBezTo>
                  <a:pt x="510113" y="6417058"/>
                  <a:pt x="530772" y="6400800"/>
                  <a:pt x="551793" y="6385034"/>
                </a:cubicBezTo>
                <a:cubicBezTo>
                  <a:pt x="562179" y="6353876"/>
                  <a:pt x="571304" y="6312669"/>
                  <a:pt x="599089" y="6290441"/>
                </a:cubicBezTo>
                <a:cubicBezTo>
                  <a:pt x="612066" y="6280060"/>
                  <a:pt x="631522" y="6282107"/>
                  <a:pt x="646386" y="6274675"/>
                </a:cubicBezTo>
                <a:cubicBezTo>
                  <a:pt x="663333" y="6266201"/>
                  <a:pt x="675238" y="6247484"/>
                  <a:pt x="693682" y="6243144"/>
                </a:cubicBezTo>
                <a:cubicBezTo>
                  <a:pt x="766026" y="6226122"/>
                  <a:pt x="840827" y="6222123"/>
                  <a:pt x="914400" y="6211613"/>
                </a:cubicBezTo>
                <a:cubicBezTo>
                  <a:pt x="930165" y="6201103"/>
                  <a:pt x="944749" y="6188556"/>
                  <a:pt x="961696" y="6180082"/>
                </a:cubicBezTo>
                <a:cubicBezTo>
                  <a:pt x="976560" y="6172650"/>
                  <a:pt x="996016" y="6174698"/>
                  <a:pt x="1008993" y="6164317"/>
                </a:cubicBezTo>
                <a:cubicBezTo>
                  <a:pt x="1023789" y="6152480"/>
                  <a:pt x="1028394" y="6131576"/>
                  <a:pt x="1040524" y="6117020"/>
                </a:cubicBezTo>
                <a:cubicBezTo>
                  <a:pt x="1054797" y="6099892"/>
                  <a:pt x="1073547" y="6086852"/>
                  <a:pt x="1087820" y="6069724"/>
                </a:cubicBezTo>
                <a:cubicBezTo>
                  <a:pt x="1099950" y="6055168"/>
                  <a:pt x="1107221" y="6036983"/>
                  <a:pt x="1119351" y="6022427"/>
                </a:cubicBezTo>
                <a:cubicBezTo>
                  <a:pt x="1133624" y="6005299"/>
                  <a:pt x="1152960" y="5992730"/>
                  <a:pt x="1166648" y="5975131"/>
                </a:cubicBezTo>
                <a:cubicBezTo>
                  <a:pt x="1189914" y="5945218"/>
                  <a:pt x="1198179" y="5901558"/>
                  <a:pt x="1229710" y="5880537"/>
                </a:cubicBezTo>
                <a:cubicBezTo>
                  <a:pt x="1245476" y="5870027"/>
                  <a:pt x="1260059" y="5857480"/>
                  <a:pt x="1277007" y="5849006"/>
                </a:cubicBezTo>
                <a:cubicBezTo>
                  <a:pt x="1317914" y="5828553"/>
                  <a:pt x="1378534" y="5825547"/>
                  <a:pt x="1418896" y="5817475"/>
                </a:cubicBezTo>
                <a:cubicBezTo>
                  <a:pt x="1440143" y="5813226"/>
                  <a:pt x="1461124" y="5807663"/>
                  <a:pt x="1481958" y="5801710"/>
                </a:cubicBezTo>
                <a:cubicBezTo>
                  <a:pt x="1497937" y="5797145"/>
                  <a:pt x="1512699" y="5787384"/>
                  <a:pt x="1529255" y="5785944"/>
                </a:cubicBezTo>
                <a:cubicBezTo>
                  <a:pt x="1634094" y="5776828"/>
                  <a:pt x="1739462" y="5775434"/>
                  <a:pt x="1844565" y="5770179"/>
                </a:cubicBezTo>
                <a:cubicBezTo>
                  <a:pt x="1886606" y="5764924"/>
                  <a:pt x="1928408" y="5757141"/>
                  <a:pt x="1970689" y="5754413"/>
                </a:cubicBezTo>
                <a:cubicBezTo>
                  <a:pt x="2091421" y="5746624"/>
                  <a:pt x="2212955" y="5751097"/>
                  <a:pt x="2333296" y="5738648"/>
                </a:cubicBezTo>
                <a:cubicBezTo>
                  <a:pt x="2366356" y="5735228"/>
                  <a:pt x="2396358" y="5717627"/>
                  <a:pt x="2427889" y="5707117"/>
                </a:cubicBezTo>
                <a:lnTo>
                  <a:pt x="2475186" y="5691351"/>
                </a:lnTo>
                <a:cubicBezTo>
                  <a:pt x="2485696" y="5675586"/>
                  <a:pt x="2493319" y="5657453"/>
                  <a:pt x="2506717" y="5644055"/>
                </a:cubicBezTo>
                <a:cubicBezTo>
                  <a:pt x="2520115" y="5630657"/>
                  <a:pt x="2542177" y="5627320"/>
                  <a:pt x="2554014" y="5612524"/>
                </a:cubicBezTo>
                <a:cubicBezTo>
                  <a:pt x="2564395" y="5599547"/>
                  <a:pt x="2563233" y="5580502"/>
                  <a:pt x="2569779" y="5565227"/>
                </a:cubicBezTo>
                <a:cubicBezTo>
                  <a:pt x="2652679" y="5371790"/>
                  <a:pt x="2553690" y="5613169"/>
                  <a:pt x="2632841" y="5454868"/>
                </a:cubicBezTo>
                <a:cubicBezTo>
                  <a:pt x="2640273" y="5440004"/>
                  <a:pt x="2640362" y="5422001"/>
                  <a:pt x="2648607" y="5407572"/>
                </a:cubicBezTo>
                <a:cubicBezTo>
                  <a:pt x="2661643" y="5384758"/>
                  <a:pt x="2680631" y="5365892"/>
                  <a:pt x="2695903" y="5344510"/>
                </a:cubicBezTo>
                <a:cubicBezTo>
                  <a:pt x="2750776" y="5267687"/>
                  <a:pt x="2706178" y="5326528"/>
                  <a:pt x="2758965" y="5234151"/>
                </a:cubicBezTo>
                <a:cubicBezTo>
                  <a:pt x="2768366" y="5217700"/>
                  <a:pt x="2782022" y="5203802"/>
                  <a:pt x="2790496" y="5186855"/>
                </a:cubicBezTo>
                <a:cubicBezTo>
                  <a:pt x="2797928" y="5171991"/>
                  <a:pt x="2799716" y="5154833"/>
                  <a:pt x="2806262" y="5139558"/>
                </a:cubicBezTo>
                <a:cubicBezTo>
                  <a:pt x="2830265" y="5083550"/>
                  <a:pt x="2837657" y="5076700"/>
                  <a:pt x="2869324" y="5029200"/>
                </a:cubicBezTo>
                <a:lnTo>
                  <a:pt x="2932386" y="4840013"/>
                </a:lnTo>
                <a:cubicBezTo>
                  <a:pt x="2946157" y="4798701"/>
                  <a:pt x="2941894" y="4759885"/>
                  <a:pt x="2979682" y="4729655"/>
                </a:cubicBezTo>
                <a:cubicBezTo>
                  <a:pt x="2989964" y="4721429"/>
                  <a:pt x="3085918" y="4699155"/>
                  <a:pt x="3090041" y="4698124"/>
                </a:cubicBezTo>
                <a:cubicBezTo>
                  <a:pt x="3105807" y="4687614"/>
                  <a:pt x="3120391" y="4675067"/>
                  <a:pt x="3137338" y="4666593"/>
                </a:cubicBezTo>
                <a:cubicBezTo>
                  <a:pt x="3152202" y="4659161"/>
                  <a:pt x="3168512" y="4654858"/>
                  <a:pt x="3184634" y="4650827"/>
                </a:cubicBezTo>
                <a:cubicBezTo>
                  <a:pt x="3252653" y="4633822"/>
                  <a:pt x="3321269" y="4619296"/>
                  <a:pt x="3389586" y="4603531"/>
                </a:cubicBezTo>
                <a:cubicBezTo>
                  <a:pt x="3527753" y="4465361"/>
                  <a:pt x="3352491" y="4634443"/>
                  <a:pt x="3484179" y="4524703"/>
                </a:cubicBezTo>
                <a:cubicBezTo>
                  <a:pt x="3559545" y="4461898"/>
                  <a:pt x="3506640" y="4497750"/>
                  <a:pt x="3563007" y="4430110"/>
                </a:cubicBezTo>
                <a:cubicBezTo>
                  <a:pt x="3577280" y="4412982"/>
                  <a:pt x="3594538" y="4398579"/>
                  <a:pt x="3610303" y="4382813"/>
                </a:cubicBezTo>
                <a:cubicBezTo>
                  <a:pt x="3649933" y="4263927"/>
                  <a:pt x="3596473" y="4410475"/>
                  <a:pt x="3657600" y="4288220"/>
                </a:cubicBezTo>
                <a:cubicBezTo>
                  <a:pt x="3665032" y="4273356"/>
                  <a:pt x="3666819" y="4256198"/>
                  <a:pt x="3673365" y="4240924"/>
                </a:cubicBezTo>
                <a:cubicBezTo>
                  <a:pt x="3682623" y="4219322"/>
                  <a:pt x="3696644" y="4199867"/>
                  <a:pt x="3704896" y="4177862"/>
                </a:cubicBezTo>
                <a:cubicBezTo>
                  <a:pt x="3712504" y="4157574"/>
                  <a:pt x="3714709" y="4135634"/>
                  <a:pt x="3720662" y="4114800"/>
                </a:cubicBezTo>
                <a:cubicBezTo>
                  <a:pt x="3725227" y="4098821"/>
                  <a:pt x="3731862" y="4083482"/>
                  <a:pt x="3736427" y="4067503"/>
                </a:cubicBezTo>
                <a:cubicBezTo>
                  <a:pt x="3742380" y="4046669"/>
                  <a:pt x="3745967" y="4025195"/>
                  <a:pt x="3752193" y="4004441"/>
                </a:cubicBezTo>
                <a:cubicBezTo>
                  <a:pt x="3814941" y="3795284"/>
                  <a:pt x="3752042" y="4004819"/>
                  <a:pt x="3815255" y="3846786"/>
                </a:cubicBezTo>
                <a:cubicBezTo>
                  <a:pt x="3871540" y="3706075"/>
                  <a:pt x="3817654" y="3795892"/>
                  <a:pt x="3878317" y="3704896"/>
                </a:cubicBezTo>
                <a:lnTo>
                  <a:pt x="3909848" y="3610303"/>
                </a:lnTo>
                <a:cubicBezTo>
                  <a:pt x="3915103" y="3594537"/>
                  <a:pt x="3916396" y="3576833"/>
                  <a:pt x="3925614" y="3563006"/>
                </a:cubicBezTo>
                <a:lnTo>
                  <a:pt x="3957145" y="3515710"/>
                </a:lnTo>
                <a:cubicBezTo>
                  <a:pt x="3984893" y="3432462"/>
                  <a:pt x="3963692" y="3482240"/>
                  <a:pt x="4035972" y="3373820"/>
                </a:cubicBezTo>
                <a:cubicBezTo>
                  <a:pt x="4045190" y="3359993"/>
                  <a:pt x="4043667" y="3341051"/>
                  <a:pt x="4051738" y="3326524"/>
                </a:cubicBezTo>
                <a:cubicBezTo>
                  <a:pt x="4070142" y="3293397"/>
                  <a:pt x="4093779" y="3263462"/>
                  <a:pt x="4114800" y="3231931"/>
                </a:cubicBezTo>
                <a:cubicBezTo>
                  <a:pt x="4288066" y="2972032"/>
                  <a:pt x="4126664" y="3192438"/>
                  <a:pt x="4193627" y="3058510"/>
                </a:cubicBezTo>
                <a:cubicBezTo>
                  <a:pt x="4202101" y="3041562"/>
                  <a:pt x="4216684" y="3028161"/>
                  <a:pt x="4225158" y="3011213"/>
                </a:cubicBezTo>
                <a:cubicBezTo>
                  <a:pt x="4237814" y="2985901"/>
                  <a:pt x="4244033" y="2957698"/>
                  <a:pt x="4256689" y="2932386"/>
                </a:cubicBezTo>
                <a:cubicBezTo>
                  <a:pt x="4270393" y="2904978"/>
                  <a:pt x="4290282" y="2880966"/>
                  <a:pt x="4303986" y="2853558"/>
                </a:cubicBezTo>
                <a:cubicBezTo>
                  <a:pt x="4311418" y="2838694"/>
                  <a:pt x="4313916" y="2821822"/>
                  <a:pt x="4319751" y="2806262"/>
                </a:cubicBezTo>
                <a:cubicBezTo>
                  <a:pt x="4329688" y="2779764"/>
                  <a:pt x="4338626" y="2752746"/>
                  <a:pt x="4351282" y="2727434"/>
                </a:cubicBezTo>
                <a:cubicBezTo>
                  <a:pt x="4359756" y="2710486"/>
                  <a:pt x="4372303" y="2695903"/>
                  <a:pt x="4382814" y="2680137"/>
                </a:cubicBezTo>
                <a:cubicBezTo>
                  <a:pt x="4446530" y="2488990"/>
                  <a:pt x="4387649" y="2682025"/>
                  <a:pt x="4430110" y="2490951"/>
                </a:cubicBezTo>
                <a:cubicBezTo>
                  <a:pt x="4433715" y="2474729"/>
                  <a:pt x="4435495" y="2456632"/>
                  <a:pt x="4445876" y="2443655"/>
                </a:cubicBezTo>
                <a:cubicBezTo>
                  <a:pt x="4457713" y="2428859"/>
                  <a:pt x="4477407" y="2422634"/>
                  <a:pt x="4493172" y="2412124"/>
                </a:cubicBezTo>
                <a:cubicBezTo>
                  <a:pt x="4523865" y="2320047"/>
                  <a:pt x="4484923" y="2404607"/>
                  <a:pt x="4556234" y="2333296"/>
                </a:cubicBezTo>
                <a:cubicBezTo>
                  <a:pt x="4569632" y="2319898"/>
                  <a:pt x="4575929" y="2300796"/>
                  <a:pt x="4587765" y="2286000"/>
                </a:cubicBezTo>
                <a:cubicBezTo>
                  <a:pt x="4597050" y="2274393"/>
                  <a:pt x="4610011" y="2266075"/>
                  <a:pt x="4619296" y="2254468"/>
                </a:cubicBezTo>
                <a:cubicBezTo>
                  <a:pt x="4655102" y="2209710"/>
                  <a:pt x="4653743" y="2188491"/>
                  <a:pt x="4698124" y="2144110"/>
                </a:cubicBezTo>
                <a:cubicBezTo>
                  <a:pt x="4711522" y="2130712"/>
                  <a:pt x="4730002" y="2123592"/>
                  <a:pt x="4745420" y="2112579"/>
                </a:cubicBezTo>
                <a:cubicBezTo>
                  <a:pt x="4896139" y="2004921"/>
                  <a:pt x="4723393" y="2118409"/>
                  <a:pt x="4871545" y="2033751"/>
                </a:cubicBezTo>
                <a:cubicBezTo>
                  <a:pt x="4957119" y="1984852"/>
                  <a:pt x="4879421" y="2015360"/>
                  <a:pt x="4966138" y="1986455"/>
                </a:cubicBezTo>
                <a:cubicBezTo>
                  <a:pt x="5101680" y="1896093"/>
                  <a:pt x="4930188" y="2004430"/>
                  <a:pt x="5060731" y="1939158"/>
                </a:cubicBezTo>
                <a:cubicBezTo>
                  <a:pt x="5077678" y="1930684"/>
                  <a:pt x="5090712" y="1915322"/>
                  <a:pt x="5108027" y="1907627"/>
                </a:cubicBezTo>
                <a:cubicBezTo>
                  <a:pt x="5138399" y="1894128"/>
                  <a:pt x="5171089" y="1886606"/>
                  <a:pt x="5202620" y="1876096"/>
                </a:cubicBezTo>
                <a:cubicBezTo>
                  <a:pt x="5218386" y="1870841"/>
                  <a:pt x="5233466" y="1862681"/>
                  <a:pt x="5249917" y="1860331"/>
                </a:cubicBezTo>
                <a:lnTo>
                  <a:pt x="5360276" y="1844565"/>
                </a:lnTo>
                <a:cubicBezTo>
                  <a:pt x="5376041" y="1839310"/>
                  <a:pt x="5391593" y="1833365"/>
                  <a:pt x="5407572" y="1828800"/>
                </a:cubicBezTo>
                <a:cubicBezTo>
                  <a:pt x="5428406" y="1822847"/>
                  <a:pt x="5450718" y="1821569"/>
                  <a:pt x="5470634" y="1813034"/>
                </a:cubicBezTo>
                <a:cubicBezTo>
                  <a:pt x="5517097" y="1793121"/>
                  <a:pt x="5527343" y="1766678"/>
                  <a:pt x="5565227" y="1734206"/>
                </a:cubicBezTo>
                <a:cubicBezTo>
                  <a:pt x="5585177" y="1717106"/>
                  <a:pt x="5606763" y="1701978"/>
                  <a:pt x="5628289" y="1686910"/>
                </a:cubicBezTo>
                <a:cubicBezTo>
                  <a:pt x="5659334" y="1665178"/>
                  <a:pt x="5696085" y="1650644"/>
                  <a:pt x="5722882" y="1623848"/>
                </a:cubicBezTo>
                <a:lnTo>
                  <a:pt x="5754414" y="1592317"/>
                </a:lnTo>
                <a:cubicBezTo>
                  <a:pt x="5764924" y="1571296"/>
                  <a:pt x="5774285" y="1549660"/>
                  <a:pt x="5785945" y="1529255"/>
                </a:cubicBezTo>
                <a:cubicBezTo>
                  <a:pt x="5795346" y="1512804"/>
                  <a:pt x="5809002" y="1498906"/>
                  <a:pt x="5817476" y="1481958"/>
                </a:cubicBezTo>
                <a:cubicBezTo>
                  <a:pt x="5833214" y="1450481"/>
                  <a:pt x="5830885" y="1409956"/>
                  <a:pt x="5864772" y="1387365"/>
                </a:cubicBezTo>
                <a:cubicBezTo>
                  <a:pt x="5882801" y="1375346"/>
                  <a:pt x="5907080" y="1377826"/>
                  <a:pt x="5927834" y="1371600"/>
                </a:cubicBezTo>
                <a:cubicBezTo>
                  <a:pt x="5959669" y="1362049"/>
                  <a:pt x="5990896" y="1350578"/>
                  <a:pt x="6022427" y="1340068"/>
                </a:cubicBezTo>
                <a:cubicBezTo>
                  <a:pt x="6199433" y="1281066"/>
                  <a:pt x="6053199" y="1324939"/>
                  <a:pt x="6479627" y="1308537"/>
                </a:cubicBezTo>
                <a:cubicBezTo>
                  <a:pt x="6511158" y="1298027"/>
                  <a:pt x="6544492" y="1291870"/>
                  <a:pt x="6574220" y="1277006"/>
                </a:cubicBezTo>
                <a:cubicBezTo>
                  <a:pt x="6597722" y="1265255"/>
                  <a:pt x="6617643" y="1247167"/>
                  <a:pt x="6637282" y="1229710"/>
                </a:cubicBezTo>
                <a:cubicBezTo>
                  <a:pt x="6665056" y="1205022"/>
                  <a:pt x="6689834" y="1177158"/>
                  <a:pt x="6716110" y="1150882"/>
                </a:cubicBezTo>
                <a:cubicBezTo>
                  <a:pt x="6731876" y="1135117"/>
                  <a:pt x="6751040" y="1122137"/>
                  <a:pt x="6763407" y="1103586"/>
                </a:cubicBezTo>
                <a:cubicBezTo>
                  <a:pt x="6788360" y="1066156"/>
                  <a:pt x="6812903" y="1027446"/>
                  <a:pt x="6842234" y="993227"/>
                </a:cubicBezTo>
                <a:cubicBezTo>
                  <a:pt x="6953378" y="863559"/>
                  <a:pt x="6814189" y="1058943"/>
                  <a:pt x="6952593" y="851337"/>
                </a:cubicBezTo>
                <a:lnTo>
                  <a:pt x="6984124" y="804041"/>
                </a:lnTo>
                <a:cubicBezTo>
                  <a:pt x="7014752" y="712152"/>
                  <a:pt x="6992457" y="771608"/>
                  <a:pt x="7062951" y="630620"/>
                </a:cubicBezTo>
                <a:cubicBezTo>
                  <a:pt x="7070383" y="615756"/>
                  <a:pt x="7071285" y="598188"/>
                  <a:pt x="7078717" y="583324"/>
                </a:cubicBezTo>
                <a:cubicBezTo>
                  <a:pt x="7087191" y="566377"/>
                  <a:pt x="7101774" y="552974"/>
                  <a:pt x="7110248" y="536027"/>
                </a:cubicBezTo>
                <a:cubicBezTo>
                  <a:pt x="7175521" y="405483"/>
                  <a:pt x="7067181" y="576982"/>
                  <a:pt x="7157545" y="441434"/>
                </a:cubicBezTo>
                <a:cubicBezTo>
                  <a:pt x="7215035" y="268955"/>
                  <a:pt x="7123349" y="530197"/>
                  <a:pt x="7204841" y="346841"/>
                </a:cubicBezTo>
                <a:cubicBezTo>
                  <a:pt x="7218340" y="316469"/>
                  <a:pt x="7225862" y="283779"/>
                  <a:pt x="7236372" y="252248"/>
                </a:cubicBezTo>
                <a:lnTo>
                  <a:pt x="7252138" y="204951"/>
                </a:lnTo>
                <a:cubicBezTo>
                  <a:pt x="7288172" y="96848"/>
                  <a:pt x="7245624" y="231009"/>
                  <a:pt x="7283669" y="78827"/>
                </a:cubicBezTo>
                <a:cubicBezTo>
                  <a:pt x="7293410" y="39861"/>
                  <a:pt x="7298889" y="32621"/>
                  <a:pt x="7315200" y="0"/>
                </a:cubicBezTo>
              </a:path>
            </a:pathLst>
          </a:custGeom>
          <a:noFill/>
          <a:ln w="9842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nvGrpSpPr>
          <p:cNvPr id="17" name="Group 16"/>
          <p:cNvGrpSpPr/>
          <p:nvPr/>
        </p:nvGrpSpPr>
        <p:grpSpPr>
          <a:xfrm>
            <a:off x="10083800" y="7729330"/>
            <a:ext cx="2895600" cy="728870"/>
            <a:chOff x="10083800" y="8458200"/>
            <a:chExt cx="2895600" cy="728870"/>
          </a:xfrm>
        </p:grpSpPr>
        <p:sp>
          <p:nvSpPr>
            <p:cNvPr id="18" name="Text Box 4"/>
            <p:cNvSpPr txBox="1">
              <a:spLocks noChangeArrowheads="1"/>
            </p:cNvSpPr>
            <p:nvPr/>
          </p:nvSpPr>
          <p:spPr bwMode="auto">
            <a:xfrm>
              <a:off x="10315400" y="85443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5-Minutes</a:t>
              </a:r>
            </a:p>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tx1"/>
                  </a:solidFill>
                  <a:latin typeface="Calibri" pitchFamily="34" charset="0"/>
                  <a:cs typeface="Arial" pitchFamily="34" charset="0"/>
                </a:rPr>
                <a:t> </a:t>
              </a:r>
              <a:r>
                <a:rPr lang="en-US" sz="2800" b="1" dirty="0">
                  <a:solidFill>
                    <a:schemeClr val="bg1"/>
                  </a:solidFill>
                  <a:latin typeface="Calibri" pitchFamily="34" charset="0"/>
                  <a:cs typeface="Arial" pitchFamily="34" charset="0"/>
                </a:rPr>
                <a:t>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20" name="Picture 3" descr="Image result for clock icon"/>
            <p:cNvPicPr>
              <a:picLocks noChangeAspect="1" noChangeArrowheads="1"/>
            </p:cNvPicPr>
            <p:nvPr/>
          </p:nvPicPr>
          <p:blipFill>
            <a:blip r:embed="rId3"/>
            <a:srcRect/>
            <a:stretch>
              <a:fillRect/>
            </a:stretch>
          </p:blipFill>
          <p:spPr bwMode="auto">
            <a:xfrm>
              <a:off x="10083800" y="8458200"/>
              <a:ext cx="732600" cy="728870"/>
            </a:xfrm>
            <a:prstGeom prst="rect">
              <a:avLst/>
            </a:prstGeom>
            <a:solidFill>
              <a:srgbClr val="74B230"/>
            </a:solidFill>
            <a:ln w="9525" algn="in">
              <a:noFill/>
              <a:miter lim="800000"/>
              <a:headEnd/>
              <a:tailEnd/>
            </a:ln>
          </p:spPr>
        </p:pic>
      </p:grpSp>
      <mc:AlternateContent xmlns:mc="http://schemas.openxmlformats.org/markup-compatibility/2006" xmlns:p14="http://schemas.microsoft.com/office/powerpoint/2010/main">
        <mc:Choice Requires="p14">
          <p:contentPart p14:bwMode="auto" r:id="rId4">
            <p14:nvContentPartPr>
              <p14:cNvPr id="176130" name="Ink 2"/>
              <p14:cNvContentPartPr>
                <a14:cpLocks xmlns:a14="http://schemas.microsoft.com/office/drawing/2010/main" noRot="1" noChangeAspect="1" noEditPoints="1" noChangeArrowheads="1" noChangeShapeType="1"/>
              </p14:cNvContentPartPr>
              <p14:nvPr/>
            </p14:nvContentPartPr>
            <p14:xfrm>
              <a:off x="119903875" y="330222225"/>
              <a:ext cx="0" cy="0"/>
            </p14:xfrm>
          </p:contentPart>
        </mc:Choice>
        <mc:Fallback xmlns="">
          <p:pic>
            <p:nvPicPr>
              <p:cNvPr id="176130" name="Ink 2"/>
              <p:cNvPicPr>
                <a:picLocks noRot="1" noChangeAspect="1" noEditPoints="1" noChangeArrowheads="1" noChangeShapeType="1"/>
              </p:cNvPicPr>
              <p:nvPr/>
            </p:nvPicPr>
            <p:blipFill>
              <a:blip r:embed="rId5"/>
              <a:stretch>
                <a:fillRect/>
              </a:stretch>
            </p:blipFill>
            <p:spPr>
              <a:xfrm>
                <a:off x="119903875" y="330222225"/>
                <a:ext cx="0" cy="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76131" name="Ink 3"/>
              <p14:cNvContentPartPr>
                <a14:cpLocks xmlns:a14="http://schemas.microsoft.com/office/drawing/2010/main" noRot="1" noChangeAspect="1" noEditPoints="1" noChangeArrowheads="1" noChangeShapeType="1"/>
              </p14:cNvContentPartPr>
              <p14:nvPr/>
            </p14:nvContentPartPr>
            <p14:xfrm>
              <a:off x="2068513" y="8031163"/>
              <a:ext cx="1587" cy="1587"/>
            </p14:xfrm>
          </p:contentPart>
        </mc:Choice>
        <mc:Fallback xmlns="">
          <p:pic>
            <p:nvPicPr>
              <p:cNvPr id="176131" name="Ink 3"/>
              <p:cNvPicPr>
                <a:picLocks noRot="1" noChangeAspect="1" noEditPoints="1" noChangeArrowheads="1" noChangeShapeType="1"/>
              </p:cNvPicPr>
              <p:nvPr/>
            </p:nvPicPr>
            <p:blipFill>
              <a:blip r:embed="rId5"/>
              <a:stretch>
                <a:fillRect/>
              </a:stretch>
            </p:blipFill>
            <p:spPr>
              <a:xfrm>
                <a:off x="2027251" y="8010532"/>
                <a:ext cx="84111" cy="42849"/>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76132" name="Ink 4"/>
              <p14:cNvContentPartPr>
                <a14:cpLocks xmlns:a14="http://schemas.microsoft.com/office/drawing/2010/main" noRot="1" noChangeAspect="1" noEditPoints="1" noChangeArrowheads="1" noChangeShapeType="1"/>
              </p14:cNvContentPartPr>
              <p14:nvPr/>
            </p14:nvContentPartPr>
            <p14:xfrm>
              <a:off x="3233738" y="6011863"/>
              <a:ext cx="3894137" cy="3175000"/>
            </p14:xfrm>
          </p:contentPart>
        </mc:Choice>
        <mc:Fallback xmlns="">
          <p:pic>
            <p:nvPicPr>
              <p:cNvPr id="176132" name="Ink 4"/>
              <p:cNvPicPr>
                <a:picLocks noRot="1" noChangeAspect="1" noEditPoints="1" noChangeArrowheads="1" noChangeShapeType="1"/>
              </p:cNvPicPr>
              <p:nvPr/>
            </p:nvPicPr>
            <p:blipFill>
              <a:blip r:embed="rId8"/>
              <a:stretch>
                <a:fillRect/>
              </a:stretch>
            </p:blipFill>
            <p:spPr>
              <a:xfrm>
                <a:off x="3224379" y="6002504"/>
                <a:ext cx="3912855" cy="3193719"/>
              </a:xfrm>
              <a:prstGeom prst="rect">
                <a:avLst/>
              </a:prstGeom>
            </p:spPr>
          </p:pic>
        </mc:Fallback>
      </mc:AlternateContent>
      <p:grpSp>
        <p:nvGrpSpPr>
          <p:cNvPr id="15" name="Group 14">
            <a:extLst>
              <a:ext uri="{FF2B5EF4-FFF2-40B4-BE49-F238E27FC236}">
                <a16:creationId xmlns:a16="http://schemas.microsoft.com/office/drawing/2014/main" id="{1A3A4706-299A-40BC-93E5-5745C70CB085}"/>
              </a:ext>
            </a:extLst>
          </p:cNvPr>
          <p:cNvGrpSpPr/>
          <p:nvPr/>
        </p:nvGrpSpPr>
        <p:grpSpPr>
          <a:xfrm>
            <a:off x="9855200" y="9001780"/>
            <a:ext cx="2717800" cy="675620"/>
            <a:chOff x="11150600" y="7086600"/>
            <a:chExt cx="1270000" cy="675620"/>
          </a:xfrm>
        </p:grpSpPr>
        <p:pic>
          <p:nvPicPr>
            <p:cNvPr id="19" name="Picture 2">
              <a:extLst>
                <a:ext uri="{FF2B5EF4-FFF2-40B4-BE49-F238E27FC236}">
                  <a16:creationId xmlns:a16="http://schemas.microsoft.com/office/drawing/2014/main" id="{7C0D2EEB-2153-48A3-BA4E-7C3D2D3D2868}"/>
                </a:ext>
              </a:extLst>
            </p:cNvPr>
            <p:cNvPicPr>
              <a:picLocks noChangeAspect="1" noChangeArrowheads="1"/>
            </p:cNvPicPr>
            <p:nvPr/>
          </p:nvPicPr>
          <p:blipFill>
            <a:blip r:embed="rId9"/>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1" name="TextBox 20">
              <a:extLst>
                <a:ext uri="{FF2B5EF4-FFF2-40B4-BE49-F238E27FC236}">
                  <a16:creationId xmlns:a16="http://schemas.microsoft.com/office/drawing/2014/main" id="{40910DDD-54FE-4DD7-B4DC-85D0061C4E33}"/>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7</a:t>
              </a:r>
            </a:p>
          </p:txBody>
        </p:sp>
      </p:grpSp>
    </p:spTree>
    <p:custDataLst>
      <p:tags r:id="rId1"/>
    </p:custDataLst>
    <p:extLst>
      <p:ext uri="{BB962C8B-B14F-4D97-AF65-F5344CB8AC3E}">
        <p14:creationId xmlns:p14="http://schemas.microsoft.com/office/powerpoint/2010/main" val="1832981067"/>
      </p:ext>
    </p:extLst>
  </p:cSld>
  <p:clrMapOvr>
    <a:masterClrMapping/>
  </p:clrMapOvr>
  <p:transition spd="slow">
    <p:random/>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74C109B-A101-40AC-828B-1A6100320AB6}"/>
              </a:ext>
            </a:extLst>
          </p:cNvPr>
          <p:cNvPicPr>
            <a:picLocks noChangeAspect="1"/>
          </p:cNvPicPr>
          <p:nvPr/>
        </p:nvPicPr>
        <p:blipFill>
          <a:blip r:embed="rId3"/>
          <a:stretch>
            <a:fillRect/>
          </a:stretch>
        </p:blipFill>
        <p:spPr>
          <a:xfrm>
            <a:off x="0" y="1517495"/>
            <a:ext cx="10891520" cy="6624320"/>
          </a:xfrm>
          <a:prstGeom prst="rect">
            <a:avLst/>
          </a:prstGeom>
          <a:ln>
            <a:noFill/>
          </a:ln>
          <a:effectLst>
            <a:outerShdw blurRad="292100" dist="139700" dir="2700000" algn="tl" rotWithShape="0">
              <a:srgbClr val="333333">
                <a:alpha val="65000"/>
              </a:srgbClr>
            </a:outerShdw>
          </a:effectLst>
        </p:spPr>
      </p:pic>
      <p:sp>
        <p:nvSpPr>
          <p:cNvPr id="7" name="Arrow: Left 6">
            <a:extLst>
              <a:ext uri="{FF2B5EF4-FFF2-40B4-BE49-F238E27FC236}">
                <a16:creationId xmlns:a16="http://schemas.microsoft.com/office/drawing/2014/main" id="{01699075-440C-4F6F-A9E3-E90E5233DFB6}"/>
              </a:ext>
            </a:extLst>
          </p:cNvPr>
          <p:cNvSpPr/>
          <p:nvPr/>
        </p:nvSpPr>
        <p:spPr bwMode="auto">
          <a:xfrm>
            <a:off x="6020326" y="4254388"/>
            <a:ext cx="6404805" cy="3197948"/>
          </a:xfrm>
          <a:prstGeom prst="leftArrow">
            <a:avLst/>
          </a:prstGeom>
          <a:solidFill>
            <a:srgbClr val="00C98C"/>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3413" dirty="0">
                <a:solidFill>
                  <a:srgbClr val="FFFFFF"/>
                </a:solidFill>
                <a:ea typeface="+mn-ea"/>
                <a:cs typeface="+mn-cs"/>
              </a:rPr>
              <a:t>pick the question you want to ask your manager about moving forward</a:t>
            </a:r>
          </a:p>
        </p:txBody>
      </p:sp>
      <p:sp>
        <p:nvSpPr>
          <p:cNvPr id="8" name="Arrow: Left 7">
            <a:extLst>
              <a:ext uri="{FF2B5EF4-FFF2-40B4-BE49-F238E27FC236}">
                <a16:creationId xmlns:a16="http://schemas.microsoft.com/office/drawing/2014/main" id="{29AB0671-51F0-416E-B300-EF2C12B9ACDD}"/>
              </a:ext>
            </a:extLst>
          </p:cNvPr>
          <p:cNvSpPr/>
          <p:nvPr/>
        </p:nvSpPr>
        <p:spPr bwMode="auto">
          <a:xfrm>
            <a:off x="6020325" y="1394174"/>
            <a:ext cx="5246765" cy="2736893"/>
          </a:xfrm>
          <a:prstGeom prst="leftArrow">
            <a:avLst/>
          </a:prstGeom>
          <a:solidFill>
            <a:srgbClr val="127AD1"/>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2987" dirty="0">
                <a:solidFill>
                  <a:srgbClr val="FFFFFF"/>
                </a:solidFill>
                <a:ea typeface="+mn-ea"/>
                <a:cs typeface="+mn-cs"/>
              </a:rPr>
              <a:t>pick the question you want to ask your manager about what’s working now</a:t>
            </a:r>
          </a:p>
        </p:txBody>
      </p:sp>
    </p:spTree>
    <p:custDataLst>
      <p:tags r:id="rId1"/>
    </p:custDataLst>
    <p:extLst>
      <p:ext uri="{BB962C8B-B14F-4D97-AF65-F5344CB8AC3E}">
        <p14:creationId xmlns:p14="http://schemas.microsoft.com/office/powerpoint/2010/main" val="3972794727"/>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right)">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6226AE-4562-413B-8BFD-8917740A93D4}"/>
              </a:ext>
            </a:extLst>
          </p:cNvPr>
          <p:cNvPicPr>
            <a:picLocks noChangeAspect="1"/>
          </p:cNvPicPr>
          <p:nvPr/>
        </p:nvPicPr>
        <p:blipFill>
          <a:blip r:embed="rId3"/>
          <a:stretch>
            <a:fillRect/>
          </a:stretch>
        </p:blipFill>
        <p:spPr>
          <a:xfrm>
            <a:off x="0" y="1219200"/>
            <a:ext cx="10232249" cy="7315200"/>
          </a:xfrm>
          <a:prstGeom prst="rect">
            <a:avLst/>
          </a:prstGeom>
        </p:spPr>
      </p:pic>
      <p:sp>
        <p:nvSpPr>
          <p:cNvPr id="7" name="Arrow: Left 6">
            <a:extLst>
              <a:ext uri="{FF2B5EF4-FFF2-40B4-BE49-F238E27FC236}">
                <a16:creationId xmlns:a16="http://schemas.microsoft.com/office/drawing/2014/main" id="{01699075-440C-4F6F-A9E3-E90E5233DFB6}"/>
              </a:ext>
            </a:extLst>
          </p:cNvPr>
          <p:cNvSpPr/>
          <p:nvPr/>
        </p:nvSpPr>
        <p:spPr bwMode="auto">
          <a:xfrm>
            <a:off x="6020326" y="4254388"/>
            <a:ext cx="6404805" cy="3197948"/>
          </a:xfrm>
          <a:prstGeom prst="leftArrow">
            <a:avLst/>
          </a:prstGeom>
          <a:solidFill>
            <a:srgbClr val="00C98C"/>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3413" dirty="0">
                <a:solidFill>
                  <a:srgbClr val="FFFFFF"/>
                </a:solidFill>
                <a:ea typeface="+mn-ea"/>
                <a:cs typeface="+mn-cs"/>
              </a:rPr>
              <a:t>Your manager will ask you one of these questions about support moving ahead</a:t>
            </a:r>
          </a:p>
        </p:txBody>
      </p:sp>
      <p:sp>
        <p:nvSpPr>
          <p:cNvPr id="8" name="Arrow: Left 7">
            <a:extLst>
              <a:ext uri="{FF2B5EF4-FFF2-40B4-BE49-F238E27FC236}">
                <a16:creationId xmlns:a16="http://schemas.microsoft.com/office/drawing/2014/main" id="{29AB0671-51F0-416E-B300-EF2C12B9ACDD}"/>
              </a:ext>
            </a:extLst>
          </p:cNvPr>
          <p:cNvSpPr/>
          <p:nvPr/>
        </p:nvSpPr>
        <p:spPr bwMode="auto">
          <a:xfrm>
            <a:off x="6020325" y="1394174"/>
            <a:ext cx="6204187" cy="2736893"/>
          </a:xfrm>
          <a:prstGeom prst="leftArrow">
            <a:avLst/>
          </a:prstGeom>
          <a:solidFill>
            <a:srgbClr val="127AD1"/>
          </a:solidFill>
          <a:ln w="25400" cap="flat" cmpd="sng" algn="ctr">
            <a:no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685797"/>
            <a:r>
              <a:rPr lang="en-US" sz="2987" dirty="0">
                <a:solidFill>
                  <a:srgbClr val="FFFFFF"/>
                </a:solidFill>
                <a:ea typeface="+mn-ea"/>
                <a:cs typeface="+mn-cs"/>
              </a:rPr>
              <a:t>Your manager will ask you one of these questions about what’s working now</a:t>
            </a:r>
          </a:p>
        </p:txBody>
      </p:sp>
    </p:spTree>
    <p:custDataLst>
      <p:tags r:id="rId1"/>
    </p:custDataLst>
    <p:extLst>
      <p:ext uri="{BB962C8B-B14F-4D97-AF65-F5344CB8AC3E}">
        <p14:creationId xmlns:p14="http://schemas.microsoft.com/office/powerpoint/2010/main" val="3944603438"/>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par>
                          <p:cTn id="8" fill="hold">
                            <p:stCondLst>
                              <p:cond delay="500"/>
                            </p:stCondLst>
                            <p:childTnLst>
                              <p:par>
                                <p:cTn id="9" presetID="22" presetClass="entr" presetSubtype="2" fill="hold" grpId="0" nodeType="afterEffect">
                                  <p:stCondLst>
                                    <p:cond delay="250"/>
                                  </p:stCondLst>
                                  <p:childTnLst>
                                    <p:set>
                                      <p:cBhvr>
                                        <p:cTn id="10" dur="1" fill="hold">
                                          <p:stCondLst>
                                            <p:cond delay="0"/>
                                          </p:stCondLst>
                                        </p:cTn>
                                        <p:tgtEl>
                                          <p:spTgt spid="7"/>
                                        </p:tgtEl>
                                        <p:attrNameLst>
                                          <p:attrName>style.visibility</p:attrName>
                                        </p:attrNameLst>
                                      </p:cBhvr>
                                      <p:to>
                                        <p:strVal val="visible"/>
                                      </p:to>
                                    </p:set>
                                    <p:animEffect transition="in" filter="wipe(right)">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9104AC2-EB00-41E5-9B75-7B5F722966F6}"/>
              </a:ext>
            </a:extLst>
          </p:cNvPr>
          <p:cNvPicPr>
            <a:picLocks noChangeAspect="1"/>
          </p:cNvPicPr>
          <p:nvPr/>
        </p:nvPicPr>
        <p:blipFill>
          <a:blip r:embed="rId3"/>
          <a:stretch>
            <a:fillRect/>
          </a:stretch>
        </p:blipFill>
        <p:spPr>
          <a:xfrm>
            <a:off x="255486" y="2186791"/>
            <a:ext cx="12554242" cy="5019584"/>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699949040"/>
      </p:ext>
    </p:extLst>
  </p:cSld>
  <p:clrMapOvr>
    <a:masterClrMapping/>
  </p:clrMapOvr>
  <p:transition spd="slow">
    <p:random/>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73</a:t>
            </a:fld>
            <a:endParaRPr lang="en-US" dirty="0">
              <a:solidFill>
                <a:prstClr val="black"/>
              </a:solidFill>
            </a:endParaRPr>
          </a:p>
        </p:txBody>
      </p:sp>
      <p:sp>
        <p:nvSpPr>
          <p:cNvPr id="3" name="Footer Placeholder 2"/>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pic>
        <p:nvPicPr>
          <p:cNvPr id="4" name="Picture 1"/>
          <p:cNvPicPr>
            <a:picLocks noChangeAspect="1" noChangeArrowheads="1"/>
          </p:cNvPicPr>
          <p:nvPr/>
        </p:nvPicPr>
        <p:blipFill>
          <a:blip r:embed="rId3" cstate="print"/>
          <a:srcRect/>
          <a:stretch>
            <a:fillRect/>
          </a:stretch>
        </p:blipFill>
        <p:spPr bwMode="auto">
          <a:xfrm>
            <a:off x="863600" y="3581400"/>
            <a:ext cx="4158797" cy="4038600"/>
          </a:xfrm>
          <a:prstGeom prst="rect">
            <a:avLst/>
          </a:prstGeom>
          <a:noFill/>
          <a:ln w="9525">
            <a:noFill/>
            <a:miter lim="800000"/>
            <a:headEnd/>
            <a:tailEnd/>
          </a:ln>
        </p:spPr>
      </p:pic>
      <p:sp>
        <p:nvSpPr>
          <p:cNvPr id="5" name="Rectangle 4"/>
          <p:cNvSpPr/>
          <p:nvPr/>
        </p:nvSpPr>
        <p:spPr>
          <a:xfrm>
            <a:off x="635000" y="381000"/>
            <a:ext cx="11201400" cy="2554545"/>
          </a:xfrm>
          <a:prstGeom prst="rect">
            <a:avLst/>
          </a:prstGeom>
        </p:spPr>
        <p:txBody>
          <a:bodyPr wrap="square">
            <a:spAutoFit/>
          </a:bodyPr>
          <a:lstStyle/>
          <a:p>
            <a:pPr algn="l"/>
            <a:r>
              <a:rPr lang="en-US" sz="4000" b="1" dirty="0">
                <a:solidFill>
                  <a:srgbClr val="30C5C2"/>
                </a:solidFill>
                <a:latin typeface="Leelawadee" pitchFamily="34" charset="-34"/>
                <a:cs typeface="Leelawadee" pitchFamily="34" charset="-34"/>
              </a:rPr>
              <a:t>Managers and employees will be set-up for success with a system for ongoing, two-way, actionable coaching conversations that enable employees to: </a:t>
            </a:r>
          </a:p>
        </p:txBody>
      </p:sp>
      <p:sp>
        <p:nvSpPr>
          <p:cNvPr id="6" name="Rectangle 5"/>
          <p:cNvSpPr/>
          <p:nvPr/>
        </p:nvSpPr>
        <p:spPr>
          <a:xfrm>
            <a:off x="5054600" y="3352800"/>
            <a:ext cx="7315200" cy="5715000"/>
          </a:xfrm>
          <a:prstGeom prst="rect">
            <a:avLst/>
          </a:prstGeom>
        </p:spPr>
        <p:txBody>
          <a:bodyPr wrap="square">
            <a:spAutoFit/>
          </a:bodyPr>
          <a:lstStyle/>
          <a:p>
            <a:pPr marL="228600" lvl="0" indent="-228600" algn="l">
              <a:buFont typeface="+mj-lt"/>
              <a:buAutoNum type="arabicPeriod"/>
            </a:pPr>
            <a:r>
              <a:rPr lang="en-US" sz="4400" b="1" dirty="0">
                <a:latin typeface="Leelawadee" pitchFamily="34" charset="-34"/>
                <a:cs typeface="Leelawadee" pitchFamily="34" charset="-34"/>
              </a:rPr>
              <a:t> Let your manager know what is going well. </a:t>
            </a:r>
          </a:p>
          <a:p>
            <a:pPr marL="228600" lvl="0" indent="-228600" algn="l">
              <a:buFont typeface="+mj-lt"/>
              <a:buAutoNum type="arabicPeriod"/>
            </a:pPr>
            <a:endParaRPr lang="en-US" sz="4400" dirty="0">
              <a:latin typeface="Leelawadee" pitchFamily="34" charset="-34"/>
              <a:cs typeface="Leelawadee" pitchFamily="34" charset="-34"/>
            </a:endParaRPr>
          </a:p>
          <a:p>
            <a:pPr marL="228600" lvl="0" indent="-228600" algn="l">
              <a:buFont typeface="+mj-lt"/>
              <a:buAutoNum type="arabicPeriod"/>
            </a:pPr>
            <a:r>
              <a:rPr lang="en-US" sz="4400" b="1" dirty="0">
                <a:latin typeface="Leelawadee" pitchFamily="34" charset="-34"/>
                <a:cs typeface="Leelawadee" pitchFamily="34" charset="-34"/>
              </a:rPr>
              <a:t> Voice an interest in gaining new skills, experiences, and sharing ideas for your growth and career development.   </a:t>
            </a:r>
          </a:p>
        </p:txBody>
      </p:sp>
    </p:spTree>
    <p:custDataLst>
      <p:tags r:id="rId1"/>
    </p:custDataLst>
    <p:extLst>
      <p:ext uri="{BB962C8B-B14F-4D97-AF65-F5344CB8AC3E}">
        <p14:creationId xmlns:p14="http://schemas.microsoft.com/office/powerpoint/2010/main" val="2748729580"/>
      </p:ext>
    </p:extLst>
  </p:cSld>
  <p:clrMapOvr>
    <a:masterClrMapping/>
  </p:clrMapOvr>
  <p:transition spd="slow">
    <p:random/>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74</a:t>
            </a:fld>
            <a:endParaRPr lang="en-US" dirty="0">
              <a:solidFill>
                <a:prstClr val="black"/>
              </a:solidFill>
            </a:endParaRPr>
          </a:p>
        </p:txBody>
      </p:sp>
      <p:sp>
        <p:nvSpPr>
          <p:cNvPr id="3" name="Footer Placeholder 2"/>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pic>
        <p:nvPicPr>
          <p:cNvPr id="4" name="Picture 1"/>
          <p:cNvPicPr>
            <a:picLocks noChangeAspect="1" noChangeArrowheads="1"/>
          </p:cNvPicPr>
          <p:nvPr/>
        </p:nvPicPr>
        <p:blipFill>
          <a:blip r:embed="rId3" cstate="print"/>
          <a:srcRect/>
          <a:stretch>
            <a:fillRect/>
          </a:stretch>
        </p:blipFill>
        <p:spPr bwMode="auto">
          <a:xfrm>
            <a:off x="0" y="0"/>
            <a:ext cx="4158797" cy="4038600"/>
          </a:xfrm>
          <a:prstGeom prst="rect">
            <a:avLst/>
          </a:prstGeom>
          <a:noFill/>
          <a:ln w="9525">
            <a:noFill/>
            <a:miter lim="800000"/>
            <a:headEnd/>
            <a:tailEnd/>
          </a:ln>
        </p:spPr>
      </p:pic>
      <p:sp>
        <p:nvSpPr>
          <p:cNvPr id="6" name="Rectangle 5"/>
          <p:cNvSpPr/>
          <p:nvPr/>
        </p:nvSpPr>
        <p:spPr>
          <a:xfrm>
            <a:off x="4140200" y="533400"/>
            <a:ext cx="8153400" cy="10248960"/>
          </a:xfrm>
          <a:prstGeom prst="rect">
            <a:avLst/>
          </a:prstGeom>
        </p:spPr>
        <p:txBody>
          <a:bodyPr wrap="square">
            <a:spAutoFit/>
          </a:bodyPr>
          <a:lstStyle/>
          <a:p>
            <a:pPr marL="228600" lvl="0" indent="-228600" algn="l"/>
            <a:r>
              <a:rPr lang="en-US" sz="4400" b="1" dirty="0">
                <a:latin typeface="Leelawadee" pitchFamily="34" charset="-34"/>
                <a:cs typeface="Leelawadee" pitchFamily="34" charset="-34"/>
              </a:rPr>
              <a:t>3.  Find out what is working</a:t>
            </a:r>
            <a:br>
              <a:rPr lang="en-US" sz="4400" b="1" dirty="0">
                <a:latin typeface="Leelawadee" pitchFamily="34" charset="-34"/>
                <a:cs typeface="Leelawadee" pitchFamily="34" charset="-34"/>
              </a:rPr>
            </a:br>
            <a:r>
              <a:rPr lang="en-US" sz="4400" b="1" dirty="0">
                <a:latin typeface="Leelawadee" pitchFamily="34" charset="-34"/>
                <a:cs typeface="Leelawadee" pitchFamily="34" charset="-34"/>
              </a:rPr>
              <a:t>   now </a:t>
            </a:r>
            <a:r>
              <a:rPr lang="en-US" sz="4400" dirty="0">
                <a:latin typeface="Leelawadee" pitchFamily="34" charset="-34"/>
                <a:cs typeface="Leelawadee" pitchFamily="34" charset="-34"/>
              </a:rPr>
              <a:t>(your good work and</a:t>
            </a:r>
            <a:br>
              <a:rPr lang="en-US" sz="4400" dirty="0">
                <a:latin typeface="Leelawadee" pitchFamily="34" charset="-34"/>
                <a:cs typeface="Leelawadee" pitchFamily="34" charset="-34"/>
              </a:rPr>
            </a:br>
            <a:r>
              <a:rPr lang="en-US" sz="4400" dirty="0">
                <a:latin typeface="Leelawadee" pitchFamily="34" charset="-34"/>
                <a:cs typeface="Leelawadee" pitchFamily="34" charset="-34"/>
              </a:rPr>
              <a:t>   positive impact). </a:t>
            </a:r>
          </a:p>
          <a:p>
            <a:pPr marL="228600" lvl="0" indent="-228600" algn="l">
              <a:buFont typeface="+mj-lt"/>
              <a:buAutoNum type="arabicPeriod"/>
            </a:pPr>
            <a:endParaRPr lang="en-US" sz="4400" dirty="0">
              <a:latin typeface="Leelawadee" pitchFamily="34" charset="-34"/>
              <a:cs typeface="Leelawadee" pitchFamily="34" charset="-34"/>
            </a:endParaRPr>
          </a:p>
          <a:p>
            <a:pPr marL="742950" lvl="0" indent="-742950" algn="l">
              <a:buAutoNum type="arabicPeriod" startAt="4"/>
            </a:pPr>
            <a:r>
              <a:rPr lang="en-US" sz="4400" b="1" dirty="0">
                <a:latin typeface="Leelawadee" pitchFamily="34" charset="-34"/>
                <a:cs typeface="Leelawadee" pitchFamily="34" charset="-34"/>
              </a:rPr>
              <a:t>Have clear direction from your manager about how to be even more effective in your role. </a:t>
            </a:r>
          </a:p>
          <a:p>
            <a:pPr marL="742950" lvl="0" indent="-742950" algn="l">
              <a:buAutoNum type="arabicPeriod" startAt="4"/>
            </a:pPr>
            <a:endParaRPr lang="en-US" sz="4400" dirty="0">
              <a:latin typeface="Leelawadee" pitchFamily="34" charset="-34"/>
              <a:cs typeface="Leelawadee" pitchFamily="34" charset="-34"/>
            </a:endParaRPr>
          </a:p>
          <a:p>
            <a:pPr marL="742950" indent="-742950" algn="l">
              <a:buFontTx/>
              <a:buAutoNum type="arabicPeriod" startAt="4"/>
            </a:pPr>
            <a:r>
              <a:rPr lang="en-US" sz="4400" b="1" dirty="0">
                <a:latin typeface="Leelawadee" pitchFamily="34" charset="-34"/>
                <a:cs typeface="Leelawadee" pitchFamily="34" charset="-34"/>
              </a:rPr>
              <a:t>Reconfirm priorities, </a:t>
            </a:r>
            <a:br>
              <a:rPr lang="en-US" sz="4400" b="1" dirty="0">
                <a:latin typeface="Leelawadee" pitchFamily="34" charset="-34"/>
                <a:cs typeface="Leelawadee" pitchFamily="34" charset="-34"/>
              </a:rPr>
            </a:br>
            <a:r>
              <a:rPr lang="en-US" sz="4400" b="1" dirty="0">
                <a:latin typeface="Leelawadee" pitchFamily="34" charset="-34"/>
                <a:cs typeface="Leelawadee" pitchFamily="34" charset="-34"/>
              </a:rPr>
              <a:t>expectations, and check-in on your progress. </a:t>
            </a:r>
          </a:p>
          <a:p>
            <a:pPr marL="742950" lvl="0" indent="-742950" algn="l">
              <a:buAutoNum type="arabicPeriod" startAt="4"/>
            </a:pPr>
            <a:endParaRPr lang="en-US" sz="4400" dirty="0">
              <a:latin typeface="Leelawadee" pitchFamily="34" charset="-34"/>
              <a:cs typeface="Leelawadee" pitchFamily="34" charset="-34"/>
            </a:endParaRPr>
          </a:p>
          <a:p>
            <a:pPr marL="742950" lvl="0" indent="-742950" algn="l">
              <a:buAutoNum type="arabicPeriod" startAt="4"/>
            </a:pPr>
            <a:endParaRPr lang="en-US" sz="4400" dirty="0">
              <a:latin typeface="Leelawadee" pitchFamily="34" charset="-34"/>
              <a:cs typeface="Leelawadee" pitchFamily="34" charset="-34"/>
            </a:endParaRPr>
          </a:p>
          <a:p>
            <a:pPr marL="742950" lvl="0" indent="-742950" algn="l">
              <a:buAutoNum type="arabicPeriod" startAt="4"/>
            </a:pPr>
            <a:endParaRPr lang="en-US" sz="4400" dirty="0">
              <a:latin typeface="Leelawadee" pitchFamily="34" charset="-34"/>
              <a:cs typeface="Leelawadee" pitchFamily="34" charset="-34"/>
            </a:endParaRPr>
          </a:p>
        </p:txBody>
      </p:sp>
    </p:spTree>
    <p:custDataLst>
      <p:tags r:id="rId1"/>
    </p:custDataLst>
    <p:extLst>
      <p:ext uri="{BB962C8B-B14F-4D97-AF65-F5344CB8AC3E}">
        <p14:creationId xmlns:p14="http://schemas.microsoft.com/office/powerpoint/2010/main" val="1261808694"/>
      </p:ext>
    </p:extLst>
  </p:cSld>
  <p:clrMapOvr>
    <a:masterClrMapping/>
  </p:clrMapOvr>
  <p:transition spd="slow">
    <p:random/>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75</a:t>
            </a:fld>
            <a:endParaRPr lang="en-US" dirty="0">
              <a:solidFill>
                <a:prstClr val="black"/>
              </a:solidFill>
            </a:endParaRPr>
          </a:p>
        </p:txBody>
      </p:sp>
      <p:sp>
        <p:nvSpPr>
          <p:cNvPr id="3" name="Footer Placeholder 2"/>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pic>
        <p:nvPicPr>
          <p:cNvPr id="4" name="Picture 1"/>
          <p:cNvPicPr>
            <a:picLocks noChangeAspect="1" noChangeArrowheads="1"/>
          </p:cNvPicPr>
          <p:nvPr/>
        </p:nvPicPr>
        <p:blipFill>
          <a:blip r:embed="rId3" cstate="print"/>
          <a:srcRect/>
          <a:stretch>
            <a:fillRect/>
          </a:stretch>
        </p:blipFill>
        <p:spPr bwMode="auto">
          <a:xfrm>
            <a:off x="0" y="0"/>
            <a:ext cx="4158797" cy="4038600"/>
          </a:xfrm>
          <a:prstGeom prst="rect">
            <a:avLst/>
          </a:prstGeom>
          <a:noFill/>
          <a:ln w="9525">
            <a:noFill/>
            <a:miter lim="800000"/>
            <a:headEnd/>
            <a:tailEnd/>
          </a:ln>
        </p:spPr>
      </p:pic>
      <p:sp>
        <p:nvSpPr>
          <p:cNvPr id="7" name="Rectangle 6"/>
          <p:cNvSpPr/>
          <p:nvPr/>
        </p:nvSpPr>
        <p:spPr>
          <a:xfrm>
            <a:off x="4064000" y="304800"/>
            <a:ext cx="8153400" cy="8894743"/>
          </a:xfrm>
          <a:prstGeom prst="rect">
            <a:avLst/>
          </a:prstGeom>
        </p:spPr>
        <p:txBody>
          <a:bodyPr wrap="square">
            <a:spAutoFit/>
          </a:bodyPr>
          <a:lstStyle/>
          <a:p>
            <a:pPr marL="228600" lvl="0" indent="-228600"/>
            <a:endParaRPr lang="en-US" sz="4400" dirty="0">
              <a:latin typeface="Leelawadee" pitchFamily="34" charset="-34"/>
              <a:cs typeface="Leelawadee" pitchFamily="34" charset="-34"/>
            </a:endParaRPr>
          </a:p>
          <a:p>
            <a:pPr marL="742950" lvl="0" indent="-742950" algn="l">
              <a:buAutoNum type="arabicPeriod" startAt="6"/>
            </a:pPr>
            <a:r>
              <a:rPr lang="en-US" sz="4400" b="1" dirty="0">
                <a:latin typeface="Leelawadee" pitchFamily="34" charset="-34"/>
                <a:cs typeface="Leelawadee" pitchFamily="34" charset="-34"/>
              </a:rPr>
              <a:t>Provide feedback to your manager about:</a:t>
            </a:r>
          </a:p>
          <a:p>
            <a:pPr marL="742950" lvl="0" indent="-742950" algn="l"/>
            <a:r>
              <a:rPr lang="en-US" sz="4400" dirty="0">
                <a:latin typeface="Leelawadee" pitchFamily="34" charset="-34"/>
                <a:cs typeface="Leelawadee" pitchFamily="34" charset="-34"/>
              </a:rPr>
              <a:t>  </a:t>
            </a:r>
          </a:p>
          <a:p>
            <a:pPr marL="228600" lvl="0" indent="-228600" algn="l">
              <a:buFont typeface="Arial" pitchFamily="34" charset="0"/>
              <a:buChar char="•"/>
            </a:pPr>
            <a:r>
              <a:rPr lang="en-US" sz="4400" b="1" dirty="0">
                <a:latin typeface="Leelawadee" pitchFamily="34" charset="-34"/>
                <a:cs typeface="Leelawadee" pitchFamily="34" charset="-34"/>
              </a:rPr>
              <a:t>Now</a:t>
            </a:r>
            <a:r>
              <a:rPr lang="en-US" sz="4400" dirty="0">
                <a:latin typeface="Leelawadee" pitchFamily="34" charset="-34"/>
                <a:cs typeface="Leelawadee" pitchFamily="34" charset="-34"/>
              </a:rPr>
              <a:t>—What is your manager doing to support you that is working and is appreciated?</a:t>
            </a:r>
          </a:p>
          <a:p>
            <a:pPr marL="228600" lvl="0" indent="-228600" algn="l">
              <a:buFont typeface="Arial" pitchFamily="34" charset="0"/>
              <a:buChar char="•"/>
            </a:pPr>
            <a:endParaRPr lang="en-US" sz="4400" dirty="0">
              <a:latin typeface="Leelawadee" pitchFamily="34" charset="-34"/>
              <a:cs typeface="Leelawadee" pitchFamily="34" charset="-34"/>
            </a:endParaRPr>
          </a:p>
          <a:p>
            <a:pPr marL="228600" lvl="0" indent="-228600" algn="l">
              <a:buFont typeface="Arial" pitchFamily="34" charset="0"/>
              <a:buChar char="•"/>
            </a:pPr>
            <a:r>
              <a:rPr lang="en-US" sz="4400" b="1" dirty="0">
                <a:latin typeface="Leelawadee" pitchFamily="34" charset="-34"/>
                <a:cs typeface="Leelawadee" pitchFamily="34" charset="-34"/>
              </a:rPr>
              <a:t>Future</a:t>
            </a:r>
            <a:r>
              <a:rPr lang="en-US" sz="4400" dirty="0">
                <a:latin typeface="Leelawadee" pitchFamily="34" charset="-34"/>
                <a:cs typeface="Leelawadee" pitchFamily="34" charset="-34"/>
              </a:rPr>
              <a:t>—</a:t>
            </a:r>
            <a:r>
              <a:rPr lang="en-US" sz="4400" dirty="0">
                <a:solidFill>
                  <a:schemeClr val="dk1"/>
                </a:solidFill>
                <a:latin typeface="Leelawadee" pitchFamily="34" charset="-34"/>
                <a:cs typeface="Leelawadee" pitchFamily="34" charset="-34"/>
              </a:rPr>
              <a:t>Share your ideas for how you and your manager can work better together or how your manager can support you even more.</a:t>
            </a:r>
            <a:endParaRPr lang="en-US" sz="4400" dirty="0">
              <a:latin typeface="Leelawadee" pitchFamily="34" charset="-34"/>
              <a:cs typeface="Leelawadee" pitchFamily="34" charset="-34"/>
            </a:endParaRPr>
          </a:p>
        </p:txBody>
      </p:sp>
    </p:spTree>
    <p:custDataLst>
      <p:tags r:id="rId1"/>
    </p:custDataLst>
    <p:extLst>
      <p:ext uri="{BB962C8B-B14F-4D97-AF65-F5344CB8AC3E}">
        <p14:creationId xmlns:p14="http://schemas.microsoft.com/office/powerpoint/2010/main" val="1086123308"/>
      </p:ext>
    </p:extLst>
  </p:cSld>
  <p:clrMapOvr>
    <a:masterClrMapping/>
  </p:clrMapOvr>
  <p:transition spd="slow">
    <p:random/>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heads.PNG"/>
          <p:cNvPicPr>
            <a:picLocks noChangeAspect="1"/>
          </p:cNvPicPr>
          <p:nvPr/>
        </p:nvPicPr>
        <p:blipFill>
          <a:blip r:embed="rId4">
            <a:duotone>
              <a:schemeClr val="accent6">
                <a:shade val="45000"/>
                <a:satMod val="135000"/>
              </a:schemeClr>
              <a:prstClr val="white"/>
            </a:duotone>
          </a:blip>
          <a:stretch>
            <a:fillRect/>
          </a:stretch>
        </p:blipFill>
        <p:spPr>
          <a:xfrm>
            <a:off x="4064000" y="6705600"/>
            <a:ext cx="3926000" cy="2600768"/>
          </a:xfrm>
          <a:prstGeom prst="rect">
            <a:avLst/>
          </a:prstGeom>
        </p:spPr>
      </p:pic>
      <p:sp>
        <p:nvSpPr>
          <p:cNvPr id="3" name="Title 2"/>
          <p:cNvSpPr>
            <a:spLocks noGrp="1"/>
          </p:cNvSpPr>
          <p:nvPr>
            <p:ph type="title"/>
          </p:nvPr>
        </p:nvSpPr>
        <p:spPr>
          <a:xfrm>
            <a:off x="0" y="0"/>
            <a:ext cx="13004800" cy="1625600"/>
          </a:xfrm>
        </p:spPr>
        <p:txBody>
          <a:bodyPr/>
          <a:lstStyle/>
          <a:p>
            <a:pPr algn="ctr"/>
            <a:r>
              <a:rPr lang="en-US" sz="5400" b="1" dirty="0"/>
              <a:t>  </a:t>
            </a:r>
            <a:r>
              <a:rPr lang="en-US" sz="4800" b="1" dirty="0">
                <a:latin typeface="+mn-lt"/>
              </a:rPr>
              <a:t>Generating dialogue:  5-MinuteConversation</a:t>
            </a:r>
            <a:endParaRPr lang="en-US" sz="5400" b="1" dirty="0">
              <a:solidFill>
                <a:schemeClr val="tx1"/>
              </a:solidFill>
              <a:latin typeface="+mn-lt"/>
            </a:endParaRPr>
          </a:p>
        </p:txBody>
      </p:sp>
      <p:grpSp>
        <p:nvGrpSpPr>
          <p:cNvPr id="2" name="Group 13"/>
          <p:cNvGrpSpPr/>
          <p:nvPr/>
        </p:nvGrpSpPr>
        <p:grpSpPr>
          <a:xfrm>
            <a:off x="3191979" y="1143000"/>
            <a:ext cx="5638800" cy="5601626"/>
            <a:chOff x="3759200" y="2819400"/>
            <a:chExt cx="4909794" cy="4992026"/>
          </a:xfrm>
        </p:grpSpPr>
        <p:sp>
          <p:nvSpPr>
            <p:cNvPr id="417794" name="_s1032"/>
            <p:cNvSpPr>
              <a:spLocks noChangeArrowheads="1"/>
            </p:cNvSpPr>
            <p:nvPr/>
          </p:nvSpPr>
          <p:spPr bwMode="auto">
            <a:xfrm>
              <a:off x="3759200" y="2971800"/>
              <a:ext cx="4909794" cy="4839626"/>
            </a:xfrm>
            <a:prstGeom prst="ellipse">
              <a:avLst/>
            </a:prstGeom>
            <a:solidFill>
              <a:srgbClr val="70AF1D"/>
            </a:solidFill>
            <a:ln w="57150" algn="ctr">
              <a:solidFill>
                <a:srgbClr val="009999"/>
              </a:solidFill>
              <a:round/>
              <a:headEnd/>
              <a:tailEnd/>
            </a:ln>
          </p:spPr>
          <p:txBody>
            <a:bodyPr vert="horz" wrap="square" lIns="0" tIns="0" rIns="0" bIns="0" numCol="1" anchor="ctr" anchorCtr="0" compatLnSpc="1">
              <a:prstTxWarp prst="textNoShape">
                <a:avLst/>
              </a:prstTxWarp>
            </a:bodyPr>
            <a:lstStyle/>
            <a:p>
              <a:endParaRPr lang="en-US"/>
            </a:p>
          </p:txBody>
        </p:sp>
        <p:sp>
          <p:nvSpPr>
            <p:cNvPr id="417795" name="Text Box 3"/>
            <p:cNvSpPr txBox="1">
              <a:spLocks noChangeArrowheads="1"/>
            </p:cNvSpPr>
            <p:nvPr/>
          </p:nvSpPr>
          <p:spPr bwMode="auto">
            <a:xfrm>
              <a:off x="4140200" y="2819400"/>
              <a:ext cx="4124227" cy="393044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400" b="0" i="0" u="none" strike="noStrike" cap="none" normalizeH="0" baseline="0" dirty="0">
                  <a:ln>
                    <a:noFill/>
                  </a:ln>
                  <a:solidFill>
                    <a:srgbClr val="000000"/>
                  </a:solidFill>
                  <a:effectLst/>
                  <a:latin typeface="Tahoma" pitchFamily="34" charset="0"/>
                  <a:cs typeface="Arial" pitchFamily="34" charset="0"/>
                </a:rPr>
                <a:t> </a:t>
              </a:r>
            </a:p>
            <a:p>
              <a:pPr marL="0" marR="0" lvl="0" indent="0" algn="ctr" defTabSz="914400" rtl="0" eaLnBrk="1" fontAlgn="base" latinLnBrk="0" hangingPunct="1">
                <a:lnSpc>
                  <a:spcPct val="100000"/>
                </a:lnSpc>
                <a:spcBef>
                  <a:spcPct val="0"/>
                </a:spcBef>
                <a:spcAft>
                  <a:spcPts val="1000"/>
                </a:spcAft>
                <a:buClrTx/>
                <a:buSzTx/>
                <a:buFontTx/>
                <a:buNone/>
                <a:tabLst/>
              </a:pPr>
              <a:endParaRPr kumimoji="0" lang="en-US" sz="1400" b="0" i="0" u="none" strike="noStrike" cap="none" normalizeH="0" baseline="0" dirty="0">
                <a:ln>
                  <a:noFill/>
                </a:ln>
                <a:solidFill>
                  <a:srgbClr val="000000"/>
                </a:solidFill>
                <a:effectLst/>
                <a:latin typeface="Tahoma" pitchFamily="34" charset="0"/>
                <a:cs typeface="Arial" pitchFamily="34" charset="0"/>
              </a:endParaRPr>
            </a:p>
            <a:p>
              <a:br>
                <a:rPr lang="en-US" sz="2800" b="1" dirty="0">
                  <a:solidFill>
                    <a:schemeClr val="bg1"/>
                  </a:solidFill>
                  <a:latin typeface="Leelawadee" pitchFamily="34" charset="-34"/>
                  <a:cs typeface="Leelawadee" pitchFamily="34" charset="-34"/>
                </a:rPr>
              </a:br>
              <a:r>
                <a:rPr lang="en-US" sz="3200" b="1" dirty="0">
                  <a:solidFill>
                    <a:schemeClr val="bg1"/>
                  </a:solidFill>
                  <a:latin typeface="Leelawadee" pitchFamily="34" charset="-34"/>
                  <a:cs typeface="Leelawadee" pitchFamily="34" charset="-34"/>
                </a:rPr>
                <a:t>What’s </a:t>
              </a:r>
              <a:r>
                <a:rPr lang="en-US" sz="3200" b="1" u="sng" dirty="0">
                  <a:solidFill>
                    <a:schemeClr val="bg1"/>
                  </a:solidFill>
                  <a:latin typeface="Leelawadee" pitchFamily="34" charset="-34"/>
                  <a:cs typeface="Leelawadee" pitchFamily="34" charset="-34"/>
                </a:rPr>
                <a:t>one thing</a:t>
              </a:r>
              <a:r>
                <a:rPr lang="en-US" sz="3200" b="1" dirty="0">
                  <a:solidFill>
                    <a:schemeClr val="bg1"/>
                  </a:solidFill>
                  <a:latin typeface="Leelawadee" pitchFamily="34" charset="-34"/>
                  <a:cs typeface="Leelawadee" pitchFamily="34" charset="-34"/>
                </a:rPr>
                <a:t> I’m </a:t>
              </a:r>
              <a:br>
                <a:rPr lang="en-US" sz="3200" b="1" dirty="0">
                  <a:solidFill>
                    <a:schemeClr val="bg1"/>
                  </a:solidFill>
                  <a:latin typeface="Leelawadee" pitchFamily="34" charset="-34"/>
                  <a:cs typeface="Leelawadee" pitchFamily="34" charset="-34"/>
                </a:rPr>
              </a:br>
              <a:r>
                <a:rPr lang="en-US" sz="3200" b="1" dirty="0">
                  <a:solidFill>
                    <a:schemeClr val="bg1"/>
                  </a:solidFill>
                  <a:latin typeface="Leelawadee" pitchFamily="34" charset="-34"/>
                  <a:cs typeface="Leelawadee" pitchFamily="34" charset="-34"/>
                </a:rPr>
                <a:t>doing to support you that’s working?</a:t>
              </a:r>
              <a:endParaRPr lang="en-US" sz="3200" dirty="0">
                <a:solidFill>
                  <a:schemeClr val="bg1"/>
                </a:solidFill>
                <a:latin typeface="Leelawadee" pitchFamily="34" charset="-34"/>
                <a:cs typeface="Leelawadee" pitchFamily="34" charset="-34"/>
              </a:endParaRPr>
            </a:p>
            <a:p>
              <a:endParaRPr lang="en-US" sz="3200" b="1" dirty="0">
                <a:solidFill>
                  <a:schemeClr val="bg1"/>
                </a:solidFill>
                <a:latin typeface="Leelawadee" pitchFamily="34" charset="-34"/>
                <a:cs typeface="Leelawadee" pitchFamily="34" charset="-34"/>
              </a:endParaRPr>
            </a:p>
            <a:p>
              <a:r>
                <a:rPr lang="en-US" sz="3200" b="1" dirty="0">
                  <a:solidFill>
                    <a:schemeClr val="bg1"/>
                  </a:solidFill>
                  <a:latin typeface="Leelawadee" pitchFamily="34" charset="-34"/>
                  <a:cs typeface="Leelawadee" pitchFamily="34" charset="-34"/>
                </a:rPr>
                <a:t> </a:t>
              </a:r>
              <a:endParaRPr lang="en-US" sz="3200" dirty="0">
                <a:solidFill>
                  <a:schemeClr val="bg1"/>
                </a:solidFill>
                <a:latin typeface="Leelawadee" pitchFamily="34" charset="-34"/>
                <a:cs typeface="Leelawadee" pitchFamily="34" charset="-34"/>
              </a:endParaRPr>
            </a:p>
            <a:p>
              <a:r>
                <a:rPr lang="en-US" sz="3200" b="1" dirty="0">
                  <a:solidFill>
                    <a:schemeClr val="bg1"/>
                  </a:solidFill>
                  <a:latin typeface="Leelawadee" pitchFamily="34" charset="-34"/>
                  <a:cs typeface="Leelawadee" pitchFamily="34" charset="-34"/>
                </a:rPr>
                <a:t> What’s </a:t>
              </a:r>
              <a:r>
                <a:rPr lang="en-US" sz="3200" b="1" u="sng" dirty="0">
                  <a:solidFill>
                    <a:schemeClr val="bg1"/>
                  </a:solidFill>
                  <a:latin typeface="Leelawadee" pitchFamily="34" charset="-34"/>
                  <a:cs typeface="Leelawadee" pitchFamily="34" charset="-34"/>
                </a:rPr>
                <a:t>one way</a:t>
              </a:r>
              <a:r>
                <a:rPr lang="en-US" sz="3200" b="1" dirty="0">
                  <a:solidFill>
                    <a:schemeClr val="bg1"/>
                  </a:solidFill>
                  <a:latin typeface="Leelawadee" pitchFamily="34" charset="-34"/>
                  <a:cs typeface="Leelawadee" pitchFamily="34" charset="-34"/>
                </a:rPr>
                <a:t> I could support you more?</a:t>
              </a:r>
              <a:endParaRPr lang="en-US" sz="3200" dirty="0">
                <a:solidFill>
                  <a:schemeClr val="bg1"/>
                </a:solidFill>
                <a:latin typeface="Leelawadee" pitchFamily="34" charset="-34"/>
                <a:cs typeface="Leelawadee" pitchFamily="34" charset="-34"/>
              </a:endParaRPr>
            </a:p>
            <a:p>
              <a:r>
                <a:rPr lang="en-US" sz="2400" dirty="0">
                  <a:solidFill>
                    <a:schemeClr val="bg1"/>
                  </a:solidFill>
                  <a:latin typeface="Leelawadee" pitchFamily="34" charset="-34"/>
                  <a:cs typeface="Leelawadee" pitchFamily="34" charset="-34"/>
                </a:rPr>
                <a:t> </a:t>
              </a:r>
            </a:p>
          </p:txBody>
        </p:sp>
      </p:grpSp>
      <p:sp>
        <p:nvSpPr>
          <p:cNvPr id="10" name="Slide Number Placeholder 9"/>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76</a:t>
            </a:fld>
            <a:endParaRPr lang="en-US" dirty="0">
              <a:solidFill>
                <a:prstClr val="black"/>
              </a:solidFill>
            </a:endParaRPr>
          </a:p>
        </p:txBody>
      </p:sp>
      <p:sp>
        <p:nvSpPr>
          <p:cNvPr id="11" name="Rectangle 10"/>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
        <p:nvSpPr>
          <p:cNvPr id="4" name="TextBox 3">
            <a:extLst>
              <a:ext uri="{FF2B5EF4-FFF2-40B4-BE49-F238E27FC236}">
                <a16:creationId xmlns:a16="http://schemas.microsoft.com/office/drawing/2014/main" id="{6148CAFF-DB50-4927-9ACF-8DB5F7298C80}"/>
              </a:ext>
            </a:extLst>
          </p:cNvPr>
          <p:cNvSpPr txBox="1"/>
          <p:nvPr/>
        </p:nvSpPr>
        <p:spPr>
          <a:xfrm>
            <a:off x="8221179" y="2971800"/>
            <a:ext cx="3102260" cy="646331"/>
          </a:xfrm>
          <a:prstGeom prst="rect">
            <a:avLst/>
          </a:prstGeom>
          <a:solidFill>
            <a:schemeClr val="bg1"/>
          </a:solidFill>
          <a:ln/>
        </p:spPr>
        <p:style>
          <a:lnRef idx="0">
            <a:schemeClr val="accent1"/>
          </a:lnRef>
          <a:fillRef idx="3">
            <a:schemeClr val="accent1"/>
          </a:fillRef>
          <a:effectRef idx="3">
            <a:schemeClr val="accent1"/>
          </a:effectRef>
          <a:fontRef idx="minor">
            <a:schemeClr val="lt1"/>
          </a:fontRef>
        </p:style>
        <p:txBody>
          <a:bodyPr wrap="none" rtlCol="0">
            <a:spAutoFit/>
          </a:bodyPr>
          <a:lstStyle/>
          <a:p>
            <a:r>
              <a:rPr lang="en-US" sz="3600" dirty="0">
                <a:solidFill>
                  <a:schemeClr val="tx1">
                    <a:lumMod val="50000"/>
                    <a:lumOff val="50000"/>
                  </a:schemeClr>
                </a:solidFill>
              </a:rPr>
              <a:t>What’s working</a:t>
            </a:r>
          </a:p>
        </p:txBody>
      </p:sp>
      <p:sp>
        <p:nvSpPr>
          <p:cNvPr id="12" name="TextBox 11">
            <a:extLst>
              <a:ext uri="{FF2B5EF4-FFF2-40B4-BE49-F238E27FC236}">
                <a16:creationId xmlns:a16="http://schemas.microsoft.com/office/drawing/2014/main" id="{9DCF4CBF-B0F5-4E30-AD98-F0DC8DC19B56}"/>
              </a:ext>
            </a:extLst>
          </p:cNvPr>
          <p:cNvSpPr txBox="1"/>
          <p:nvPr/>
        </p:nvSpPr>
        <p:spPr>
          <a:xfrm>
            <a:off x="8449779" y="4800600"/>
            <a:ext cx="3615221" cy="646331"/>
          </a:xfrm>
          <a:prstGeom prst="rect">
            <a:avLst/>
          </a:prstGeom>
          <a:solidFill>
            <a:schemeClr val="bg1"/>
          </a:solidFill>
          <a:ln/>
        </p:spPr>
        <p:style>
          <a:lnRef idx="0">
            <a:schemeClr val="accent1"/>
          </a:lnRef>
          <a:fillRef idx="3">
            <a:schemeClr val="accent1"/>
          </a:fillRef>
          <a:effectRef idx="3">
            <a:schemeClr val="accent1"/>
          </a:effectRef>
          <a:fontRef idx="minor">
            <a:schemeClr val="lt1"/>
          </a:fontRef>
        </p:style>
        <p:txBody>
          <a:bodyPr wrap="none" rtlCol="0">
            <a:spAutoFit/>
          </a:bodyPr>
          <a:lstStyle/>
          <a:p>
            <a:r>
              <a:rPr lang="en-US" sz="3600" dirty="0">
                <a:solidFill>
                  <a:schemeClr val="tx1">
                    <a:lumMod val="50000"/>
                    <a:lumOff val="50000"/>
                  </a:schemeClr>
                </a:solidFill>
                <a:latin typeface="+mn-lt"/>
              </a:rPr>
              <a:t>Moving forward….</a:t>
            </a:r>
          </a:p>
        </p:txBody>
      </p:sp>
    </p:spTree>
    <p:custDataLst>
      <p:tags r:id="rId1"/>
    </p:custDataLst>
    <p:extLst>
      <p:ext uri="{BB962C8B-B14F-4D97-AF65-F5344CB8AC3E}">
        <p14:creationId xmlns:p14="http://schemas.microsoft.com/office/powerpoint/2010/main" val="532998266"/>
      </p:ext>
    </p:extLst>
  </p:cSld>
  <p:clrMapOvr>
    <a:masterClrMapping/>
  </p:clrMapOvr>
  <p:transition spd="slow">
    <p:random/>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7822CB3C-3E9E-4288-BD5D-DE3ADBA44959}"/>
              </a:ext>
            </a:extLst>
          </p:cNvPr>
          <p:cNvSpPr>
            <a:spLocks noGrp="1"/>
          </p:cNvSpPr>
          <p:nvPr>
            <p:ph type="body" sz="quarter" idx="4294967295"/>
          </p:nvPr>
        </p:nvSpPr>
        <p:spPr>
          <a:xfrm>
            <a:off x="177800" y="2772993"/>
            <a:ext cx="6189663" cy="5676900"/>
          </a:xfrm>
        </p:spPr>
        <p:txBody>
          <a:bodyPr>
            <a:normAutofit/>
          </a:bodyPr>
          <a:lstStyle/>
          <a:p>
            <a:pPr marL="514350" indent="-514350">
              <a:buFont typeface="+mj-lt"/>
              <a:buAutoNum type="arabicPeriod"/>
            </a:pPr>
            <a:r>
              <a:rPr lang="en-US" sz="3307" b="1" dirty="0"/>
              <a:t>Choose a Question to Ask About What’s Working Now</a:t>
            </a:r>
            <a:br>
              <a:rPr lang="en-US" sz="3307" b="1" dirty="0"/>
            </a:br>
            <a:endParaRPr lang="en-US" sz="3307" b="1" dirty="0"/>
          </a:p>
          <a:p>
            <a:pPr marL="514350" indent="-514350">
              <a:buFont typeface="+mj-lt"/>
              <a:buAutoNum type="arabicPeriod"/>
            </a:pPr>
            <a:r>
              <a:rPr lang="en-US" sz="3307" b="1" dirty="0"/>
              <a:t>Choose a Question About How to Coordinate Even More Effectively Moving Ahead</a:t>
            </a:r>
          </a:p>
          <a:p>
            <a:endParaRPr lang="en-US" sz="3307" b="1" dirty="0"/>
          </a:p>
          <a:p>
            <a:endParaRPr lang="en-US" dirty="0"/>
          </a:p>
        </p:txBody>
      </p:sp>
      <p:sp>
        <p:nvSpPr>
          <p:cNvPr id="9" name="Title 8">
            <a:extLst>
              <a:ext uri="{FF2B5EF4-FFF2-40B4-BE49-F238E27FC236}">
                <a16:creationId xmlns:a16="http://schemas.microsoft.com/office/drawing/2014/main" id="{F9BB3F33-D9D6-4866-8099-B40DCC59510F}"/>
              </a:ext>
            </a:extLst>
          </p:cNvPr>
          <p:cNvSpPr>
            <a:spLocks noGrp="1"/>
          </p:cNvSpPr>
          <p:nvPr>
            <p:ph type="title" idx="4294967295"/>
          </p:nvPr>
        </p:nvSpPr>
        <p:spPr>
          <a:xfrm>
            <a:off x="611135" y="1257300"/>
            <a:ext cx="11404600" cy="1314450"/>
          </a:xfrm>
        </p:spPr>
        <p:txBody>
          <a:bodyPr/>
          <a:lstStyle/>
          <a:p>
            <a:r>
              <a:rPr lang="en-US" dirty="0">
                <a:solidFill>
                  <a:srgbClr val="127AD1"/>
                </a:solidFill>
              </a:rPr>
              <a:t>How does it work?</a:t>
            </a:r>
          </a:p>
        </p:txBody>
      </p:sp>
      <p:sp>
        <p:nvSpPr>
          <p:cNvPr id="17" name="Rectangle 16">
            <a:extLst>
              <a:ext uri="{FF2B5EF4-FFF2-40B4-BE49-F238E27FC236}">
                <a16:creationId xmlns:a16="http://schemas.microsoft.com/office/drawing/2014/main" id="{663AE10B-8C61-45CA-8538-D8A8A96EC387}"/>
              </a:ext>
            </a:extLst>
          </p:cNvPr>
          <p:cNvSpPr/>
          <p:nvPr/>
        </p:nvSpPr>
        <p:spPr>
          <a:xfrm>
            <a:off x="5970061" y="6096000"/>
            <a:ext cx="1018233" cy="1114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fontAlgn="auto">
              <a:spcBef>
                <a:spcPts val="0"/>
              </a:spcBef>
              <a:spcAft>
                <a:spcPts val="0"/>
              </a:spcAft>
            </a:pPr>
            <a:endParaRPr lang="en-US" sz="1920">
              <a:solidFill>
                <a:srgbClr val="FFFFFF"/>
              </a:solidFill>
              <a:latin typeface="Arial"/>
            </a:endParaRPr>
          </a:p>
        </p:txBody>
      </p:sp>
      <p:pic>
        <p:nvPicPr>
          <p:cNvPr id="3" name="Picture 2">
            <a:extLst>
              <a:ext uri="{FF2B5EF4-FFF2-40B4-BE49-F238E27FC236}">
                <a16:creationId xmlns:a16="http://schemas.microsoft.com/office/drawing/2014/main" id="{0D444607-EBF5-4E9E-A97F-161D29EEEA01}"/>
              </a:ext>
            </a:extLst>
          </p:cNvPr>
          <p:cNvPicPr>
            <a:picLocks noChangeAspect="1"/>
          </p:cNvPicPr>
          <p:nvPr/>
        </p:nvPicPr>
        <p:blipFill>
          <a:blip r:embed="rId3"/>
          <a:stretch>
            <a:fillRect/>
          </a:stretch>
        </p:blipFill>
        <p:spPr>
          <a:xfrm>
            <a:off x="6197600" y="970332"/>
            <a:ext cx="6294835" cy="7525968"/>
          </a:xfrm>
          <a:prstGeom prst="rect">
            <a:avLst/>
          </a:prstGeom>
          <a:ln>
            <a:noFill/>
          </a:ln>
          <a:effectLst>
            <a:outerShdw blurRad="292100" dist="139700" dir="2700000" algn="tl" rotWithShape="0">
              <a:srgbClr val="333333">
                <a:alpha val="65000"/>
              </a:srgbClr>
            </a:outerShdw>
          </a:effectLst>
        </p:spPr>
      </p:pic>
      <p:pic>
        <p:nvPicPr>
          <p:cNvPr id="6" name="Picture 2">
            <a:extLst>
              <a:ext uri="{FF2B5EF4-FFF2-40B4-BE49-F238E27FC236}">
                <a16:creationId xmlns:a16="http://schemas.microsoft.com/office/drawing/2014/main" id="{842F0263-64FD-4A31-8108-4AEC34F29501}"/>
              </a:ext>
            </a:extLst>
          </p:cNvPr>
          <p:cNvPicPr>
            <a:picLocks noChangeAspect="1" noChangeArrowheads="1"/>
          </p:cNvPicPr>
          <p:nvPr/>
        </p:nvPicPr>
        <p:blipFill>
          <a:blip r:embed="rId4"/>
          <a:srcRect/>
          <a:stretch>
            <a:fillRect/>
          </a:stretch>
        </p:blipFill>
        <p:spPr bwMode="auto">
          <a:xfrm>
            <a:off x="9855200" y="9001780"/>
            <a:ext cx="27178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7" name="TextBox 6">
            <a:extLst>
              <a:ext uri="{FF2B5EF4-FFF2-40B4-BE49-F238E27FC236}">
                <a16:creationId xmlns:a16="http://schemas.microsoft.com/office/drawing/2014/main" id="{90723B91-BA8F-4E4E-B267-85390C519BEC}"/>
              </a:ext>
            </a:extLst>
          </p:cNvPr>
          <p:cNvSpPr txBox="1"/>
          <p:nvPr/>
        </p:nvSpPr>
        <p:spPr>
          <a:xfrm>
            <a:off x="10181336" y="9154180"/>
            <a:ext cx="2119884"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21</a:t>
            </a:r>
          </a:p>
        </p:txBody>
      </p:sp>
    </p:spTree>
    <p:custDataLst>
      <p:tags r:id="rId1"/>
    </p:custDataLst>
    <p:extLst>
      <p:ext uri="{BB962C8B-B14F-4D97-AF65-F5344CB8AC3E}">
        <p14:creationId xmlns:p14="http://schemas.microsoft.com/office/powerpoint/2010/main" val="1840774436"/>
      </p:ext>
    </p:extLst>
  </p:cSld>
  <p:clrMapOvr>
    <a:masterClrMapping/>
  </p:clrMapOvr>
  <p:transition spd="slow">
    <p:random/>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2" name="Text Placeholder 16"/>
          <p:cNvSpPr>
            <a:spLocks noGrp="1"/>
          </p:cNvSpPr>
          <p:nvPr>
            <p:ph type="body" sz="quarter" idx="21"/>
          </p:nvPr>
        </p:nvSpPr>
        <p:spPr>
          <a:xfrm>
            <a:off x="9474200" y="609600"/>
            <a:ext cx="2590800" cy="3657600"/>
          </a:xfrm>
        </p:spPr>
        <p:txBody>
          <a:bodyPr/>
          <a:lstStyle/>
          <a:p>
            <a:r>
              <a:rPr lang="en-US" dirty="0"/>
              <a:t>1</a:t>
            </a:r>
          </a:p>
        </p:txBody>
      </p:sp>
      <p:sp>
        <p:nvSpPr>
          <p:cNvPr id="13" name="TextBox 12"/>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20" name="TextBox 19"/>
          <p:cNvSpPr txBox="1"/>
          <p:nvPr/>
        </p:nvSpPr>
        <p:spPr>
          <a:xfrm>
            <a:off x="8487711" y="1981200"/>
            <a:ext cx="884971" cy="1554161"/>
          </a:xfrm>
          <a:prstGeom prst="rect">
            <a:avLst/>
          </a:prstGeom>
          <a:noFill/>
        </p:spPr>
        <p:txBody>
          <a:bodyPr wrap="none" lIns="91337" tIns="45665" rIns="91337" bIns="45665" rtlCol="0">
            <a:spAutoFit/>
          </a:bodyPr>
          <a:lstStyle/>
          <a:p>
            <a:r>
              <a:rPr lang="en-US" sz="9500" b="1" dirty="0">
                <a:solidFill>
                  <a:srgbClr val="BAD80A"/>
                </a:solidFill>
                <a:latin typeface="Leelawadee" panose="020B0502040204020203" pitchFamily="34" charset="-34"/>
                <a:cs typeface="Leelawadee" panose="020B0502040204020203" pitchFamily="34" charset="-34"/>
              </a:rPr>
              <a:t>2</a:t>
            </a:r>
          </a:p>
        </p:txBody>
      </p:sp>
      <p:sp>
        <p:nvSpPr>
          <p:cNvPr id="21" name="Rectangle 20"/>
          <p:cNvSpPr/>
          <p:nvPr/>
        </p:nvSpPr>
        <p:spPr bwMode="auto">
          <a:xfrm>
            <a:off x="3759200" y="0"/>
            <a:ext cx="9245600" cy="9753600"/>
          </a:xfrm>
          <a:prstGeom prst="rect">
            <a:avLst/>
          </a:prstGeom>
          <a:solidFill>
            <a:srgbClr val="0080C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2" name="Text Box 4"/>
          <p:cNvSpPr txBox="1">
            <a:spLocks noChangeArrowheads="1"/>
          </p:cNvSpPr>
          <p:nvPr/>
        </p:nvSpPr>
        <p:spPr bwMode="auto">
          <a:xfrm>
            <a:off x="8559800" y="3352800"/>
            <a:ext cx="4445000" cy="2147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36450" tIns="36450" rIns="36450" bIns="36450" numCol="1" anchor="t" anchorCtr="0" compatLnSpc="1">
            <a:prstTxWarp prst="textNoShape">
              <a:avLst/>
            </a:prstTxWarp>
          </a:bodyPr>
          <a:lstStyle/>
          <a:p>
            <a:pPr algn="l" defTabSz="911259"/>
            <a:br>
              <a:rPr lang="en-US" altLang="en-US" sz="4800" b="1" dirty="0">
                <a:solidFill>
                  <a:schemeClr val="bg1"/>
                </a:solidFill>
                <a:latin typeface="Leelawadee" panose="020B0502040204020203" pitchFamily="34" charset="-34"/>
                <a:cs typeface="Leelawadee" panose="020B0502040204020203" pitchFamily="34" charset="-34"/>
              </a:rPr>
            </a:br>
            <a:br>
              <a:rPr lang="en-US" altLang="en-US" sz="4400" b="1" dirty="0">
                <a:latin typeface="Arial Narrow" pitchFamily="34" charset="0"/>
                <a:cs typeface="Arial" pitchFamily="34" charset="0"/>
              </a:rPr>
            </a:br>
            <a:endParaRPr lang="en-US" altLang="en-US" sz="1000"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br>
              <a:rPr lang="en-US" altLang="en-US" sz="1000" dirty="0">
                <a:latin typeface="Arial Narrow" pitchFamily="34" charset="0"/>
                <a:cs typeface="Arial" pitchFamily="34" charset="0"/>
              </a:rPr>
            </a:br>
            <a:endParaRPr lang="en-US" altLang="en-US" sz="1000" b="1"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endParaRPr lang="en-US" altLang="en-US" sz="1800" dirty="0">
              <a:solidFill>
                <a:schemeClr val="tx1"/>
              </a:solidFill>
              <a:latin typeface="Arial" pitchFamily="34" charset="0"/>
              <a:cs typeface="Arial" pitchFamily="34" charset="0"/>
            </a:endParaRPr>
          </a:p>
        </p:txBody>
      </p:sp>
      <p:sp>
        <p:nvSpPr>
          <p:cNvPr id="14" name="TextBox 13"/>
          <p:cNvSpPr txBox="1"/>
          <p:nvPr/>
        </p:nvSpPr>
        <p:spPr>
          <a:xfrm>
            <a:off x="7063155" y="-2667000"/>
            <a:ext cx="431528" cy="22744688"/>
          </a:xfrm>
          <a:prstGeom prst="rect">
            <a:avLst/>
          </a:prstGeom>
          <a:noFill/>
        </p:spPr>
        <p:txBody>
          <a:bodyPr wrap="none" rtlCol="0">
            <a:spAutoFit/>
          </a:bodyPr>
          <a:lstStyle/>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b="1" dirty="0"/>
              <a:t> </a:t>
            </a:r>
            <a:endParaRPr lang="en-US" sz="3200" dirty="0"/>
          </a:p>
          <a:p>
            <a:r>
              <a:rPr lang="en-US" sz="3200" dirty="0"/>
              <a:t> </a:t>
            </a:r>
          </a:p>
          <a:p>
            <a:r>
              <a:rPr lang="en-US" sz="3200" dirty="0"/>
              <a:t> </a:t>
            </a:r>
          </a:p>
          <a:p>
            <a:r>
              <a:rPr lang="en-US" sz="3200" dirty="0"/>
              <a:t> </a:t>
            </a:r>
          </a:p>
          <a:p>
            <a:r>
              <a:rPr lang="en-US" sz="3200" dirty="0"/>
              <a:t> </a:t>
            </a:r>
          </a:p>
          <a:p>
            <a:r>
              <a:rPr lang="en-US" sz="3200" dirty="0"/>
              <a:t> </a:t>
            </a:r>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b="1" dirty="0"/>
              <a:t> </a:t>
            </a:r>
            <a:endParaRPr lang="en-US" sz="3200" dirty="0"/>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dirty="0"/>
              <a:t> </a:t>
            </a:r>
          </a:p>
          <a:p>
            <a:r>
              <a:rPr lang="en-US" sz="3200" b="1" dirty="0"/>
              <a:t> </a:t>
            </a:r>
            <a:endParaRPr lang="en-US" sz="3200" dirty="0"/>
          </a:p>
          <a:p>
            <a:r>
              <a:rPr lang="en-US" sz="3200" dirty="0"/>
              <a:t> </a:t>
            </a:r>
          </a:p>
          <a:p>
            <a:r>
              <a:rPr lang="en-US" sz="3200" dirty="0">
                <a:latin typeface="Articulate" pitchFamily="2" charset="0"/>
              </a:rPr>
              <a:t> </a:t>
            </a:r>
          </a:p>
          <a:p>
            <a:endParaRPr lang="en-US" sz="3200" dirty="0">
              <a:latin typeface="Articulate" pitchFamily="2" charset="0"/>
            </a:endParaRPr>
          </a:p>
        </p:txBody>
      </p:sp>
      <p:sp>
        <p:nvSpPr>
          <p:cNvPr id="25" name="Slide Number Placeholder 24"/>
          <p:cNvSpPr>
            <a:spLocks noGrp="1"/>
          </p:cNvSpPr>
          <p:nvPr>
            <p:ph type="sldNum" sz="quarter" idx="23"/>
          </p:nvPr>
        </p:nvSpPr>
        <p:spPr/>
        <p:txBody>
          <a:bodyPr/>
          <a:lstStyle/>
          <a:p>
            <a:pPr>
              <a:defRPr/>
            </a:pPr>
            <a:fld id="{7C0A6E37-841E-4E23-95AD-DF9C80D768D7}" type="slidenum">
              <a:rPr lang="en-US" smtClean="0">
                <a:solidFill>
                  <a:prstClr val="black"/>
                </a:solidFill>
              </a:rPr>
              <a:pPr>
                <a:defRPr/>
              </a:pPr>
              <a:t>78</a:t>
            </a:fld>
            <a:endParaRPr lang="en-US" dirty="0">
              <a:solidFill>
                <a:prstClr val="black"/>
              </a:solidFill>
            </a:endParaRPr>
          </a:p>
        </p:txBody>
      </p:sp>
      <p:sp>
        <p:nvSpPr>
          <p:cNvPr id="16" name="TextBox 15"/>
          <p:cNvSpPr txBox="1"/>
          <p:nvPr/>
        </p:nvSpPr>
        <p:spPr>
          <a:xfrm>
            <a:off x="3835400" y="1"/>
            <a:ext cx="9232656" cy="6617196"/>
          </a:xfrm>
          <a:prstGeom prst="rect">
            <a:avLst/>
          </a:prstGeom>
          <a:noFill/>
        </p:spPr>
        <p:txBody>
          <a:bodyPr wrap="square" rtlCol="0">
            <a:spAutoFit/>
          </a:bodyPr>
          <a:lstStyle/>
          <a:p>
            <a:pPr algn="l"/>
            <a:endParaRPr lang="en-US" sz="3600" b="1" dirty="0">
              <a:solidFill>
                <a:schemeClr val="bg1"/>
              </a:solidFill>
              <a:latin typeface="Calibri" pitchFamily="34" charset="0"/>
            </a:endParaRPr>
          </a:p>
          <a:p>
            <a:pPr algn="l"/>
            <a:r>
              <a:rPr lang="en-US" sz="3600" b="1" dirty="0">
                <a:solidFill>
                  <a:schemeClr val="bg1"/>
                </a:solidFill>
                <a:latin typeface="Calibri" pitchFamily="34" charset="0"/>
              </a:rPr>
              <a:t>Instructions:  </a:t>
            </a:r>
            <a:br>
              <a:rPr lang="en-US" sz="3200" b="1" dirty="0">
                <a:solidFill>
                  <a:schemeClr val="bg1"/>
                </a:solidFill>
                <a:latin typeface="Calibri" pitchFamily="34" charset="0"/>
              </a:rPr>
            </a:br>
            <a:r>
              <a:rPr lang="en-US" sz="3200" b="1" dirty="0">
                <a:solidFill>
                  <a:schemeClr val="bg1"/>
                </a:solidFill>
                <a:latin typeface="Calibri" pitchFamily="34" charset="0"/>
              </a:rPr>
              <a:t>1.  </a:t>
            </a:r>
            <a:r>
              <a:rPr lang="en-US" sz="3200" dirty="0">
                <a:solidFill>
                  <a:schemeClr val="bg1"/>
                </a:solidFill>
                <a:latin typeface="Calibri" pitchFamily="34" charset="0"/>
              </a:rPr>
              <a:t>Pair up with a partner.</a:t>
            </a:r>
          </a:p>
          <a:p>
            <a:pPr algn="l"/>
            <a:br>
              <a:rPr lang="en-US" sz="3200" dirty="0">
                <a:solidFill>
                  <a:schemeClr val="bg1"/>
                </a:solidFill>
                <a:latin typeface="Calibri" pitchFamily="34" charset="0"/>
              </a:rPr>
            </a:br>
            <a:r>
              <a:rPr lang="en-US" sz="3200" b="1" dirty="0">
                <a:solidFill>
                  <a:schemeClr val="bg1"/>
                </a:solidFill>
                <a:latin typeface="Calibri" pitchFamily="34" charset="0"/>
              </a:rPr>
              <a:t>2.  </a:t>
            </a:r>
            <a:r>
              <a:rPr lang="en-US" sz="3200" dirty="0">
                <a:solidFill>
                  <a:schemeClr val="bg1"/>
                </a:solidFill>
                <a:latin typeface="Calibri" pitchFamily="34" charset="0"/>
              </a:rPr>
              <a:t>Choose two questions from the worksheet to ask your partner.</a:t>
            </a:r>
          </a:p>
          <a:p>
            <a:pPr algn="l"/>
            <a:br>
              <a:rPr lang="en-US" sz="3200" dirty="0">
                <a:solidFill>
                  <a:schemeClr val="bg1"/>
                </a:solidFill>
                <a:latin typeface="Calibri" pitchFamily="34" charset="0"/>
              </a:rPr>
            </a:br>
            <a:r>
              <a:rPr lang="en-US" sz="3200" b="1" dirty="0">
                <a:solidFill>
                  <a:schemeClr val="bg1"/>
                </a:solidFill>
                <a:latin typeface="Calibri" pitchFamily="34" charset="0"/>
              </a:rPr>
              <a:t>3.  </a:t>
            </a:r>
            <a:r>
              <a:rPr lang="en-US" sz="3200" dirty="0">
                <a:solidFill>
                  <a:schemeClr val="bg1"/>
                </a:solidFill>
                <a:latin typeface="Calibri" pitchFamily="34" charset="0"/>
              </a:rPr>
              <a:t>Take  turns asking and answering your selected questions.  </a:t>
            </a:r>
          </a:p>
          <a:p>
            <a:pPr algn="l"/>
            <a:endParaRPr lang="en-US" sz="3200" dirty="0">
              <a:solidFill>
                <a:schemeClr val="bg1"/>
              </a:solidFill>
              <a:latin typeface="Calibri" pitchFamily="34" charset="0"/>
            </a:endParaRPr>
          </a:p>
          <a:p>
            <a:pPr marL="514350" indent="-514350" algn="l">
              <a:buAutoNum type="arabicPeriod" startAt="4"/>
            </a:pPr>
            <a:r>
              <a:rPr lang="en-US" sz="3200" dirty="0">
                <a:solidFill>
                  <a:schemeClr val="bg1"/>
                </a:solidFill>
                <a:latin typeface="Calibri" pitchFamily="34" charset="0"/>
              </a:rPr>
              <a:t>Use the worksheet to ask/answer </a:t>
            </a:r>
            <a:r>
              <a:rPr lang="en-US" sz="3200" dirty="0">
                <a:solidFill>
                  <a:schemeClr val="accent2">
                    <a:lumMod val="60000"/>
                    <a:lumOff val="40000"/>
                  </a:schemeClr>
                </a:solidFill>
                <a:latin typeface="Calibri" pitchFamily="34" charset="0"/>
                <a:sym typeface="Wingdings"/>
              </a:rPr>
              <a:t></a:t>
            </a:r>
            <a:r>
              <a:rPr lang="en-US" sz="3200" dirty="0">
                <a:solidFill>
                  <a:schemeClr val="bg1"/>
                </a:solidFill>
                <a:latin typeface="Calibri" pitchFamily="34" charset="0"/>
                <a:sym typeface="Wingdings"/>
              </a:rPr>
              <a:t>qu</a:t>
            </a:r>
            <a:r>
              <a:rPr lang="en-US" sz="3200" dirty="0">
                <a:solidFill>
                  <a:schemeClr val="bg1"/>
                </a:solidFill>
                <a:latin typeface="Calibri" pitchFamily="34" charset="0"/>
              </a:rPr>
              <a:t>estions and take notes </a:t>
            </a:r>
          </a:p>
          <a:p>
            <a:endParaRPr lang="en-US" sz="2400" dirty="0"/>
          </a:p>
        </p:txBody>
      </p:sp>
      <p:pic>
        <p:nvPicPr>
          <p:cNvPr id="18" name="Picture 17" descr="heads.PNG"/>
          <p:cNvPicPr>
            <a:picLocks noChangeAspect="1"/>
          </p:cNvPicPr>
          <p:nvPr/>
        </p:nvPicPr>
        <p:blipFill>
          <a:blip r:embed="rId4">
            <a:duotone>
              <a:schemeClr val="accent6">
                <a:shade val="45000"/>
                <a:satMod val="135000"/>
              </a:schemeClr>
              <a:prstClr val="white"/>
            </a:duotone>
          </a:blip>
          <a:stretch>
            <a:fillRect/>
          </a:stretch>
        </p:blipFill>
        <p:spPr>
          <a:xfrm>
            <a:off x="0" y="1600200"/>
            <a:ext cx="3695944" cy="2448368"/>
          </a:xfrm>
          <a:prstGeom prst="rect">
            <a:avLst/>
          </a:prstGeom>
        </p:spPr>
      </p:pic>
      <p:sp>
        <p:nvSpPr>
          <p:cNvPr id="23" name="TextBox 22"/>
          <p:cNvSpPr txBox="1"/>
          <p:nvPr/>
        </p:nvSpPr>
        <p:spPr>
          <a:xfrm>
            <a:off x="177800" y="304800"/>
            <a:ext cx="3200400" cy="1200329"/>
          </a:xfrm>
          <a:prstGeom prst="rect">
            <a:avLst/>
          </a:prstGeom>
          <a:noFill/>
        </p:spPr>
        <p:txBody>
          <a:bodyPr wrap="square" rtlCol="0">
            <a:spAutoFit/>
          </a:bodyPr>
          <a:lstStyle/>
          <a:p>
            <a:r>
              <a:rPr lang="en-US" sz="3600" b="1" dirty="0">
                <a:solidFill>
                  <a:srgbClr val="0080C0"/>
                </a:solidFill>
                <a:latin typeface="Calibri" pitchFamily="34" charset="0"/>
              </a:rPr>
              <a:t>Peer Questions Practice</a:t>
            </a:r>
          </a:p>
        </p:txBody>
      </p:sp>
      <p:grpSp>
        <p:nvGrpSpPr>
          <p:cNvPr id="26" name="Group 25"/>
          <p:cNvGrpSpPr/>
          <p:nvPr/>
        </p:nvGrpSpPr>
        <p:grpSpPr>
          <a:xfrm>
            <a:off x="330200" y="7696200"/>
            <a:ext cx="2895600" cy="728870"/>
            <a:chOff x="10083800" y="9100930"/>
            <a:chExt cx="2895600" cy="728870"/>
          </a:xfrm>
        </p:grpSpPr>
        <p:sp>
          <p:nvSpPr>
            <p:cNvPr id="27" name="Text Box 4"/>
            <p:cNvSpPr txBox="1">
              <a:spLocks noChangeArrowheads="1"/>
            </p:cNvSpPr>
            <p:nvPr/>
          </p:nvSpPr>
          <p:spPr bwMode="auto">
            <a:xfrm>
              <a:off x="10315400" y="92301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10-Minutes</a:t>
              </a:r>
            </a:p>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tx1"/>
                  </a:solidFill>
                  <a:latin typeface="Calibri" pitchFamily="34" charset="0"/>
                  <a:cs typeface="Arial" pitchFamily="34" charset="0"/>
                </a:rPr>
                <a:t>Page 21 </a:t>
              </a:r>
              <a:r>
                <a:rPr lang="en-US" sz="2800" b="1" dirty="0">
                  <a:solidFill>
                    <a:schemeClr val="bg1"/>
                  </a:solidFill>
                  <a:latin typeface="Calibri" pitchFamily="34" charset="0"/>
                  <a:cs typeface="Arial" pitchFamily="34" charset="0"/>
                </a:rPr>
                <a:t>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28" name="Picture 3" descr="Image result for clock icon"/>
            <p:cNvPicPr>
              <a:picLocks noChangeAspect="1" noChangeArrowheads="1"/>
            </p:cNvPicPr>
            <p:nvPr/>
          </p:nvPicPr>
          <p:blipFill>
            <a:blip r:embed="rId5"/>
            <a:srcRect/>
            <a:stretch>
              <a:fillRect/>
            </a:stretch>
          </p:blipFill>
          <p:spPr bwMode="auto">
            <a:xfrm>
              <a:off x="10083800" y="9100930"/>
              <a:ext cx="732600" cy="728870"/>
            </a:xfrm>
            <a:prstGeom prst="rect">
              <a:avLst/>
            </a:prstGeom>
            <a:solidFill>
              <a:srgbClr val="74B230"/>
            </a:solidFill>
            <a:ln w="9525" algn="in">
              <a:noFill/>
              <a:miter lim="800000"/>
              <a:headEnd/>
              <a:tailEnd/>
            </a:ln>
          </p:spPr>
        </p:pic>
      </p:grpSp>
      <p:sp>
        <p:nvSpPr>
          <p:cNvPr id="30" name="TextBox 29"/>
          <p:cNvSpPr txBox="1"/>
          <p:nvPr/>
        </p:nvSpPr>
        <p:spPr>
          <a:xfrm>
            <a:off x="3149600" y="6466344"/>
            <a:ext cx="9855200" cy="2677656"/>
          </a:xfrm>
          <a:prstGeom prst="rect">
            <a:avLst/>
          </a:prstGeom>
          <a:solidFill>
            <a:srgbClr val="006699"/>
          </a:solidFill>
        </p:spPr>
        <p:txBody>
          <a:bodyPr wrap="square" rtlCol="0">
            <a:spAutoFit/>
          </a:bodyPr>
          <a:lstStyle/>
          <a:p>
            <a:r>
              <a:rPr lang="en-US" sz="4000" dirty="0">
                <a:solidFill>
                  <a:schemeClr val="accent2">
                    <a:lumMod val="60000"/>
                    <a:lumOff val="40000"/>
                  </a:schemeClr>
                </a:solidFill>
                <a:latin typeface="Calibri" pitchFamily="34" charset="0"/>
                <a:sym typeface="Wingdings"/>
              </a:rPr>
              <a:t></a:t>
            </a:r>
            <a:r>
              <a:rPr lang="en-US" sz="3200" dirty="0">
                <a:solidFill>
                  <a:schemeClr val="bg1"/>
                </a:solidFill>
                <a:latin typeface="Calibri" pitchFamily="34" charset="0"/>
              </a:rPr>
              <a:t>Try avoiding transactional questions such as, “How is the project going?” or close-ended questions such as, “Did you get the project finished?”, etc.  Place the emphasis on how well you are working together now and what you </a:t>
            </a:r>
            <a:r>
              <a:rPr lang="en-US" sz="3200" i="1" dirty="0">
                <a:solidFill>
                  <a:schemeClr val="bg1"/>
                </a:solidFill>
                <a:latin typeface="Calibri" pitchFamily="34" charset="0"/>
              </a:rPr>
              <a:t>can </a:t>
            </a:r>
            <a:r>
              <a:rPr lang="en-US" sz="3200" dirty="0">
                <a:solidFill>
                  <a:schemeClr val="bg1"/>
                </a:solidFill>
                <a:latin typeface="Calibri" pitchFamily="34" charset="0"/>
              </a:rPr>
              <a:t>do to work even better together in the future</a:t>
            </a:r>
            <a:endParaRPr lang="en-US" dirty="0"/>
          </a:p>
        </p:txBody>
      </p:sp>
    </p:spTree>
    <p:custDataLst>
      <p:tags r:id="rId1"/>
    </p:custDataLst>
    <p:extLst>
      <p:ext uri="{BB962C8B-B14F-4D97-AF65-F5344CB8AC3E}">
        <p14:creationId xmlns:p14="http://schemas.microsoft.com/office/powerpoint/2010/main" val="3708553187"/>
      </p:ext>
    </p:extLst>
  </p:cSld>
  <p:clrMapOvr>
    <a:masterClrMapping/>
  </p:clrMapOvr>
  <p:transition spd="slow">
    <p:random/>
  </p:transition>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3581400"/>
            <a:ext cx="13004800" cy="1905000"/>
          </a:xfrm>
        </p:spPr>
        <p:txBody>
          <a:bodyPr/>
          <a:lstStyle/>
          <a:p>
            <a:r>
              <a:rPr lang="en-US" dirty="0"/>
              <a:t>Skills and Tools Recap</a:t>
            </a:r>
            <a:endParaRPr lang="en-US" dirty="0">
              <a:solidFill>
                <a:srgbClr val="66FFFF"/>
              </a:solidFill>
            </a:endParaRP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79</a:t>
            </a:fld>
            <a:endParaRPr lang="en-US" dirty="0">
              <a:solidFill>
                <a:prstClr val="black"/>
              </a:solidFill>
            </a:endParaRPr>
          </a:p>
        </p:txBody>
      </p:sp>
      <p:sp>
        <p:nvSpPr>
          <p:cNvPr id="21" name="Rectangle 20"/>
          <p:cNvSpPr/>
          <p:nvPr/>
        </p:nvSpPr>
        <p:spPr bwMode="auto">
          <a:xfrm>
            <a:off x="254000" y="488698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bwMode="auto">
          <a:xfrm>
            <a:off x="1016000" y="2819400"/>
            <a:ext cx="7086600" cy="5833241"/>
          </a:xfrm>
          <a:custGeom>
            <a:avLst/>
            <a:gdLst>
              <a:gd name="connsiteX0" fmla="*/ 0 w 7315200"/>
              <a:gd name="connsiteY0" fmla="*/ 6731875 h 6731875"/>
              <a:gd name="connsiteX1" fmla="*/ 78827 w 7315200"/>
              <a:gd name="connsiteY1" fmla="*/ 6700344 h 6731875"/>
              <a:gd name="connsiteX2" fmla="*/ 110358 w 7315200"/>
              <a:gd name="connsiteY2" fmla="*/ 6653048 h 6731875"/>
              <a:gd name="connsiteX3" fmla="*/ 204951 w 7315200"/>
              <a:gd name="connsiteY3" fmla="*/ 6621517 h 6731875"/>
              <a:gd name="connsiteX4" fmla="*/ 299545 w 7315200"/>
              <a:gd name="connsiteY4" fmla="*/ 6558455 h 6731875"/>
              <a:gd name="connsiteX5" fmla="*/ 346841 w 7315200"/>
              <a:gd name="connsiteY5" fmla="*/ 6542689 h 6731875"/>
              <a:gd name="connsiteX6" fmla="*/ 441434 w 7315200"/>
              <a:gd name="connsiteY6" fmla="*/ 6463862 h 6731875"/>
              <a:gd name="connsiteX7" fmla="*/ 488731 w 7315200"/>
              <a:gd name="connsiteY7" fmla="*/ 6432331 h 6731875"/>
              <a:gd name="connsiteX8" fmla="*/ 551793 w 7315200"/>
              <a:gd name="connsiteY8" fmla="*/ 6385034 h 6731875"/>
              <a:gd name="connsiteX9" fmla="*/ 599089 w 7315200"/>
              <a:gd name="connsiteY9" fmla="*/ 6290441 h 6731875"/>
              <a:gd name="connsiteX10" fmla="*/ 646386 w 7315200"/>
              <a:gd name="connsiteY10" fmla="*/ 6274675 h 6731875"/>
              <a:gd name="connsiteX11" fmla="*/ 693682 w 7315200"/>
              <a:gd name="connsiteY11" fmla="*/ 6243144 h 6731875"/>
              <a:gd name="connsiteX12" fmla="*/ 914400 w 7315200"/>
              <a:gd name="connsiteY12" fmla="*/ 6211613 h 6731875"/>
              <a:gd name="connsiteX13" fmla="*/ 961696 w 7315200"/>
              <a:gd name="connsiteY13" fmla="*/ 6180082 h 6731875"/>
              <a:gd name="connsiteX14" fmla="*/ 1008993 w 7315200"/>
              <a:gd name="connsiteY14" fmla="*/ 6164317 h 6731875"/>
              <a:gd name="connsiteX15" fmla="*/ 1040524 w 7315200"/>
              <a:gd name="connsiteY15" fmla="*/ 6117020 h 6731875"/>
              <a:gd name="connsiteX16" fmla="*/ 1087820 w 7315200"/>
              <a:gd name="connsiteY16" fmla="*/ 6069724 h 6731875"/>
              <a:gd name="connsiteX17" fmla="*/ 1119351 w 7315200"/>
              <a:gd name="connsiteY17" fmla="*/ 6022427 h 6731875"/>
              <a:gd name="connsiteX18" fmla="*/ 1166648 w 7315200"/>
              <a:gd name="connsiteY18" fmla="*/ 5975131 h 6731875"/>
              <a:gd name="connsiteX19" fmla="*/ 1229710 w 7315200"/>
              <a:gd name="connsiteY19" fmla="*/ 5880537 h 6731875"/>
              <a:gd name="connsiteX20" fmla="*/ 1277007 w 7315200"/>
              <a:gd name="connsiteY20" fmla="*/ 5849006 h 6731875"/>
              <a:gd name="connsiteX21" fmla="*/ 1418896 w 7315200"/>
              <a:gd name="connsiteY21" fmla="*/ 5817475 h 6731875"/>
              <a:gd name="connsiteX22" fmla="*/ 1481958 w 7315200"/>
              <a:gd name="connsiteY22" fmla="*/ 5801710 h 6731875"/>
              <a:gd name="connsiteX23" fmla="*/ 1529255 w 7315200"/>
              <a:gd name="connsiteY23" fmla="*/ 5785944 h 6731875"/>
              <a:gd name="connsiteX24" fmla="*/ 1844565 w 7315200"/>
              <a:gd name="connsiteY24" fmla="*/ 5770179 h 6731875"/>
              <a:gd name="connsiteX25" fmla="*/ 1970689 w 7315200"/>
              <a:gd name="connsiteY25" fmla="*/ 5754413 h 6731875"/>
              <a:gd name="connsiteX26" fmla="*/ 2333296 w 7315200"/>
              <a:gd name="connsiteY26" fmla="*/ 5738648 h 6731875"/>
              <a:gd name="connsiteX27" fmla="*/ 2427889 w 7315200"/>
              <a:gd name="connsiteY27" fmla="*/ 5707117 h 6731875"/>
              <a:gd name="connsiteX28" fmla="*/ 2475186 w 7315200"/>
              <a:gd name="connsiteY28" fmla="*/ 5691351 h 6731875"/>
              <a:gd name="connsiteX29" fmla="*/ 2506717 w 7315200"/>
              <a:gd name="connsiteY29" fmla="*/ 5644055 h 6731875"/>
              <a:gd name="connsiteX30" fmla="*/ 2554014 w 7315200"/>
              <a:gd name="connsiteY30" fmla="*/ 5612524 h 6731875"/>
              <a:gd name="connsiteX31" fmla="*/ 2569779 w 7315200"/>
              <a:gd name="connsiteY31" fmla="*/ 5565227 h 6731875"/>
              <a:gd name="connsiteX32" fmla="*/ 2632841 w 7315200"/>
              <a:gd name="connsiteY32" fmla="*/ 5454868 h 6731875"/>
              <a:gd name="connsiteX33" fmla="*/ 2648607 w 7315200"/>
              <a:gd name="connsiteY33" fmla="*/ 5407572 h 6731875"/>
              <a:gd name="connsiteX34" fmla="*/ 2695903 w 7315200"/>
              <a:gd name="connsiteY34" fmla="*/ 5344510 h 6731875"/>
              <a:gd name="connsiteX35" fmla="*/ 2758965 w 7315200"/>
              <a:gd name="connsiteY35" fmla="*/ 5234151 h 6731875"/>
              <a:gd name="connsiteX36" fmla="*/ 2790496 w 7315200"/>
              <a:gd name="connsiteY36" fmla="*/ 5186855 h 6731875"/>
              <a:gd name="connsiteX37" fmla="*/ 2806262 w 7315200"/>
              <a:gd name="connsiteY37" fmla="*/ 5139558 h 6731875"/>
              <a:gd name="connsiteX38" fmla="*/ 2869324 w 7315200"/>
              <a:gd name="connsiteY38" fmla="*/ 5029200 h 6731875"/>
              <a:gd name="connsiteX39" fmla="*/ 2932386 w 7315200"/>
              <a:gd name="connsiteY39" fmla="*/ 4840013 h 6731875"/>
              <a:gd name="connsiteX40" fmla="*/ 2979682 w 7315200"/>
              <a:gd name="connsiteY40" fmla="*/ 4729655 h 6731875"/>
              <a:gd name="connsiteX41" fmla="*/ 3090041 w 7315200"/>
              <a:gd name="connsiteY41" fmla="*/ 4698124 h 6731875"/>
              <a:gd name="connsiteX42" fmla="*/ 3137338 w 7315200"/>
              <a:gd name="connsiteY42" fmla="*/ 4666593 h 6731875"/>
              <a:gd name="connsiteX43" fmla="*/ 3184634 w 7315200"/>
              <a:gd name="connsiteY43" fmla="*/ 4650827 h 6731875"/>
              <a:gd name="connsiteX44" fmla="*/ 3389586 w 7315200"/>
              <a:gd name="connsiteY44" fmla="*/ 4603531 h 6731875"/>
              <a:gd name="connsiteX45" fmla="*/ 3484179 w 7315200"/>
              <a:gd name="connsiteY45" fmla="*/ 4524703 h 6731875"/>
              <a:gd name="connsiteX46" fmla="*/ 3563007 w 7315200"/>
              <a:gd name="connsiteY46" fmla="*/ 4430110 h 6731875"/>
              <a:gd name="connsiteX47" fmla="*/ 3610303 w 7315200"/>
              <a:gd name="connsiteY47" fmla="*/ 4382813 h 6731875"/>
              <a:gd name="connsiteX48" fmla="*/ 3657600 w 7315200"/>
              <a:gd name="connsiteY48" fmla="*/ 4288220 h 6731875"/>
              <a:gd name="connsiteX49" fmla="*/ 3673365 w 7315200"/>
              <a:gd name="connsiteY49" fmla="*/ 4240924 h 6731875"/>
              <a:gd name="connsiteX50" fmla="*/ 3704896 w 7315200"/>
              <a:gd name="connsiteY50" fmla="*/ 4177862 h 6731875"/>
              <a:gd name="connsiteX51" fmla="*/ 3720662 w 7315200"/>
              <a:gd name="connsiteY51" fmla="*/ 4114800 h 6731875"/>
              <a:gd name="connsiteX52" fmla="*/ 3736427 w 7315200"/>
              <a:gd name="connsiteY52" fmla="*/ 4067503 h 6731875"/>
              <a:gd name="connsiteX53" fmla="*/ 3752193 w 7315200"/>
              <a:gd name="connsiteY53" fmla="*/ 4004441 h 6731875"/>
              <a:gd name="connsiteX54" fmla="*/ 3815255 w 7315200"/>
              <a:gd name="connsiteY54" fmla="*/ 3846786 h 6731875"/>
              <a:gd name="connsiteX55" fmla="*/ 3878317 w 7315200"/>
              <a:gd name="connsiteY55" fmla="*/ 3704896 h 6731875"/>
              <a:gd name="connsiteX56" fmla="*/ 3909848 w 7315200"/>
              <a:gd name="connsiteY56" fmla="*/ 3610303 h 6731875"/>
              <a:gd name="connsiteX57" fmla="*/ 3925614 w 7315200"/>
              <a:gd name="connsiteY57" fmla="*/ 3563006 h 6731875"/>
              <a:gd name="connsiteX58" fmla="*/ 3957145 w 7315200"/>
              <a:gd name="connsiteY58" fmla="*/ 3515710 h 6731875"/>
              <a:gd name="connsiteX59" fmla="*/ 4035972 w 7315200"/>
              <a:gd name="connsiteY59" fmla="*/ 3373820 h 6731875"/>
              <a:gd name="connsiteX60" fmla="*/ 4051738 w 7315200"/>
              <a:gd name="connsiteY60" fmla="*/ 3326524 h 6731875"/>
              <a:gd name="connsiteX61" fmla="*/ 4114800 w 7315200"/>
              <a:gd name="connsiteY61" fmla="*/ 3231931 h 6731875"/>
              <a:gd name="connsiteX62" fmla="*/ 4193627 w 7315200"/>
              <a:gd name="connsiteY62" fmla="*/ 3058510 h 6731875"/>
              <a:gd name="connsiteX63" fmla="*/ 4225158 w 7315200"/>
              <a:gd name="connsiteY63" fmla="*/ 3011213 h 6731875"/>
              <a:gd name="connsiteX64" fmla="*/ 4256689 w 7315200"/>
              <a:gd name="connsiteY64" fmla="*/ 2932386 h 6731875"/>
              <a:gd name="connsiteX65" fmla="*/ 4303986 w 7315200"/>
              <a:gd name="connsiteY65" fmla="*/ 2853558 h 6731875"/>
              <a:gd name="connsiteX66" fmla="*/ 4319751 w 7315200"/>
              <a:gd name="connsiteY66" fmla="*/ 2806262 h 6731875"/>
              <a:gd name="connsiteX67" fmla="*/ 4351282 w 7315200"/>
              <a:gd name="connsiteY67" fmla="*/ 2727434 h 6731875"/>
              <a:gd name="connsiteX68" fmla="*/ 4382814 w 7315200"/>
              <a:gd name="connsiteY68" fmla="*/ 2680137 h 6731875"/>
              <a:gd name="connsiteX69" fmla="*/ 4430110 w 7315200"/>
              <a:gd name="connsiteY69" fmla="*/ 2490951 h 6731875"/>
              <a:gd name="connsiteX70" fmla="*/ 4445876 w 7315200"/>
              <a:gd name="connsiteY70" fmla="*/ 2443655 h 6731875"/>
              <a:gd name="connsiteX71" fmla="*/ 4493172 w 7315200"/>
              <a:gd name="connsiteY71" fmla="*/ 2412124 h 6731875"/>
              <a:gd name="connsiteX72" fmla="*/ 4556234 w 7315200"/>
              <a:gd name="connsiteY72" fmla="*/ 2333296 h 6731875"/>
              <a:gd name="connsiteX73" fmla="*/ 4587765 w 7315200"/>
              <a:gd name="connsiteY73" fmla="*/ 2286000 h 6731875"/>
              <a:gd name="connsiteX74" fmla="*/ 4619296 w 7315200"/>
              <a:gd name="connsiteY74" fmla="*/ 2254468 h 6731875"/>
              <a:gd name="connsiteX75" fmla="*/ 4698124 w 7315200"/>
              <a:gd name="connsiteY75" fmla="*/ 2144110 h 6731875"/>
              <a:gd name="connsiteX76" fmla="*/ 4745420 w 7315200"/>
              <a:gd name="connsiteY76" fmla="*/ 2112579 h 6731875"/>
              <a:gd name="connsiteX77" fmla="*/ 4871545 w 7315200"/>
              <a:gd name="connsiteY77" fmla="*/ 2033751 h 6731875"/>
              <a:gd name="connsiteX78" fmla="*/ 4966138 w 7315200"/>
              <a:gd name="connsiteY78" fmla="*/ 1986455 h 6731875"/>
              <a:gd name="connsiteX79" fmla="*/ 5060731 w 7315200"/>
              <a:gd name="connsiteY79" fmla="*/ 1939158 h 6731875"/>
              <a:gd name="connsiteX80" fmla="*/ 5108027 w 7315200"/>
              <a:gd name="connsiteY80" fmla="*/ 1907627 h 6731875"/>
              <a:gd name="connsiteX81" fmla="*/ 5202620 w 7315200"/>
              <a:gd name="connsiteY81" fmla="*/ 1876096 h 6731875"/>
              <a:gd name="connsiteX82" fmla="*/ 5249917 w 7315200"/>
              <a:gd name="connsiteY82" fmla="*/ 1860331 h 6731875"/>
              <a:gd name="connsiteX83" fmla="*/ 5360276 w 7315200"/>
              <a:gd name="connsiteY83" fmla="*/ 1844565 h 6731875"/>
              <a:gd name="connsiteX84" fmla="*/ 5407572 w 7315200"/>
              <a:gd name="connsiteY84" fmla="*/ 1828800 h 6731875"/>
              <a:gd name="connsiteX85" fmla="*/ 5470634 w 7315200"/>
              <a:gd name="connsiteY85" fmla="*/ 1813034 h 6731875"/>
              <a:gd name="connsiteX86" fmla="*/ 5565227 w 7315200"/>
              <a:gd name="connsiteY86" fmla="*/ 1734206 h 6731875"/>
              <a:gd name="connsiteX87" fmla="*/ 5628289 w 7315200"/>
              <a:gd name="connsiteY87" fmla="*/ 1686910 h 6731875"/>
              <a:gd name="connsiteX88" fmla="*/ 5722882 w 7315200"/>
              <a:gd name="connsiteY88" fmla="*/ 1623848 h 6731875"/>
              <a:gd name="connsiteX89" fmla="*/ 5754414 w 7315200"/>
              <a:gd name="connsiteY89" fmla="*/ 1592317 h 6731875"/>
              <a:gd name="connsiteX90" fmla="*/ 5785945 w 7315200"/>
              <a:gd name="connsiteY90" fmla="*/ 1529255 h 6731875"/>
              <a:gd name="connsiteX91" fmla="*/ 5817476 w 7315200"/>
              <a:gd name="connsiteY91" fmla="*/ 1481958 h 6731875"/>
              <a:gd name="connsiteX92" fmla="*/ 5864772 w 7315200"/>
              <a:gd name="connsiteY92" fmla="*/ 1387365 h 6731875"/>
              <a:gd name="connsiteX93" fmla="*/ 5927834 w 7315200"/>
              <a:gd name="connsiteY93" fmla="*/ 1371600 h 6731875"/>
              <a:gd name="connsiteX94" fmla="*/ 6022427 w 7315200"/>
              <a:gd name="connsiteY94" fmla="*/ 1340068 h 6731875"/>
              <a:gd name="connsiteX95" fmla="*/ 6479627 w 7315200"/>
              <a:gd name="connsiteY95" fmla="*/ 1308537 h 6731875"/>
              <a:gd name="connsiteX96" fmla="*/ 6574220 w 7315200"/>
              <a:gd name="connsiteY96" fmla="*/ 1277006 h 6731875"/>
              <a:gd name="connsiteX97" fmla="*/ 6637282 w 7315200"/>
              <a:gd name="connsiteY97" fmla="*/ 1229710 h 6731875"/>
              <a:gd name="connsiteX98" fmla="*/ 6716110 w 7315200"/>
              <a:gd name="connsiteY98" fmla="*/ 1150882 h 6731875"/>
              <a:gd name="connsiteX99" fmla="*/ 6763407 w 7315200"/>
              <a:gd name="connsiteY99" fmla="*/ 1103586 h 6731875"/>
              <a:gd name="connsiteX100" fmla="*/ 6842234 w 7315200"/>
              <a:gd name="connsiteY100" fmla="*/ 993227 h 6731875"/>
              <a:gd name="connsiteX101" fmla="*/ 6952593 w 7315200"/>
              <a:gd name="connsiteY101" fmla="*/ 851337 h 6731875"/>
              <a:gd name="connsiteX102" fmla="*/ 6984124 w 7315200"/>
              <a:gd name="connsiteY102" fmla="*/ 804041 h 6731875"/>
              <a:gd name="connsiteX103" fmla="*/ 7062951 w 7315200"/>
              <a:gd name="connsiteY103" fmla="*/ 630620 h 6731875"/>
              <a:gd name="connsiteX104" fmla="*/ 7078717 w 7315200"/>
              <a:gd name="connsiteY104" fmla="*/ 583324 h 6731875"/>
              <a:gd name="connsiteX105" fmla="*/ 7110248 w 7315200"/>
              <a:gd name="connsiteY105" fmla="*/ 536027 h 6731875"/>
              <a:gd name="connsiteX106" fmla="*/ 7157545 w 7315200"/>
              <a:gd name="connsiteY106" fmla="*/ 441434 h 6731875"/>
              <a:gd name="connsiteX107" fmla="*/ 7204841 w 7315200"/>
              <a:gd name="connsiteY107" fmla="*/ 346841 h 6731875"/>
              <a:gd name="connsiteX108" fmla="*/ 7236372 w 7315200"/>
              <a:gd name="connsiteY108" fmla="*/ 252248 h 6731875"/>
              <a:gd name="connsiteX109" fmla="*/ 7252138 w 7315200"/>
              <a:gd name="connsiteY109" fmla="*/ 204951 h 6731875"/>
              <a:gd name="connsiteX110" fmla="*/ 7283669 w 7315200"/>
              <a:gd name="connsiteY110" fmla="*/ 78827 h 6731875"/>
              <a:gd name="connsiteX111" fmla="*/ 7315200 w 7315200"/>
              <a:gd name="connsiteY111" fmla="*/ 0 h 67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315200" h="6731875">
                <a:moveTo>
                  <a:pt x="0" y="6731875"/>
                </a:moveTo>
                <a:cubicBezTo>
                  <a:pt x="26276" y="6721365"/>
                  <a:pt x="55799" y="6716793"/>
                  <a:pt x="78827" y="6700344"/>
                </a:cubicBezTo>
                <a:cubicBezTo>
                  <a:pt x="94245" y="6689331"/>
                  <a:pt x="94290" y="6663090"/>
                  <a:pt x="110358" y="6653048"/>
                </a:cubicBezTo>
                <a:cubicBezTo>
                  <a:pt x="138543" y="6635433"/>
                  <a:pt x="204951" y="6621517"/>
                  <a:pt x="204951" y="6621517"/>
                </a:cubicBezTo>
                <a:cubicBezTo>
                  <a:pt x="236482" y="6600496"/>
                  <a:pt x="263594" y="6570439"/>
                  <a:pt x="299545" y="6558455"/>
                </a:cubicBezTo>
                <a:cubicBezTo>
                  <a:pt x="315310" y="6553200"/>
                  <a:pt x="331977" y="6550121"/>
                  <a:pt x="346841" y="6542689"/>
                </a:cubicBezTo>
                <a:cubicBezTo>
                  <a:pt x="405559" y="6513330"/>
                  <a:pt x="389130" y="6507448"/>
                  <a:pt x="441434" y="6463862"/>
                </a:cubicBezTo>
                <a:cubicBezTo>
                  <a:pt x="455990" y="6451732"/>
                  <a:pt x="473312" y="6443344"/>
                  <a:pt x="488731" y="6432331"/>
                </a:cubicBezTo>
                <a:cubicBezTo>
                  <a:pt x="510113" y="6417058"/>
                  <a:pt x="530772" y="6400800"/>
                  <a:pt x="551793" y="6385034"/>
                </a:cubicBezTo>
                <a:cubicBezTo>
                  <a:pt x="562179" y="6353876"/>
                  <a:pt x="571304" y="6312669"/>
                  <a:pt x="599089" y="6290441"/>
                </a:cubicBezTo>
                <a:cubicBezTo>
                  <a:pt x="612066" y="6280060"/>
                  <a:pt x="631522" y="6282107"/>
                  <a:pt x="646386" y="6274675"/>
                </a:cubicBezTo>
                <a:cubicBezTo>
                  <a:pt x="663333" y="6266201"/>
                  <a:pt x="675238" y="6247484"/>
                  <a:pt x="693682" y="6243144"/>
                </a:cubicBezTo>
                <a:cubicBezTo>
                  <a:pt x="766026" y="6226122"/>
                  <a:pt x="840827" y="6222123"/>
                  <a:pt x="914400" y="6211613"/>
                </a:cubicBezTo>
                <a:cubicBezTo>
                  <a:pt x="930165" y="6201103"/>
                  <a:pt x="944749" y="6188556"/>
                  <a:pt x="961696" y="6180082"/>
                </a:cubicBezTo>
                <a:cubicBezTo>
                  <a:pt x="976560" y="6172650"/>
                  <a:pt x="996016" y="6174698"/>
                  <a:pt x="1008993" y="6164317"/>
                </a:cubicBezTo>
                <a:cubicBezTo>
                  <a:pt x="1023789" y="6152480"/>
                  <a:pt x="1028394" y="6131576"/>
                  <a:pt x="1040524" y="6117020"/>
                </a:cubicBezTo>
                <a:cubicBezTo>
                  <a:pt x="1054797" y="6099892"/>
                  <a:pt x="1073547" y="6086852"/>
                  <a:pt x="1087820" y="6069724"/>
                </a:cubicBezTo>
                <a:cubicBezTo>
                  <a:pt x="1099950" y="6055168"/>
                  <a:pt x="1107221" y="6036983"/>
                  <a:pt x="1119351" y="6022427"/>
                </a:cubicBezTo>
                <a:cubicBezTo>
                  <a:pt x="1133624" y="6005299"/>
                  <a:pt x="1152960" y="5992730"/>
                  <a:pt x="1166648" y="5975131"/>
                </a:cubicBezTo>
                <a:cubicBezTo>
                  <a:pt x="1189914" y="5945218"/>
                  <a:pt x="1198179" y="5901558"/>
                  <a:pt x="1229710" y="5880537"/>
                </a:cubicBezTo>
                <a:cubicBezTo>
                  <a:pt x="1245476" y="5870027"/>
                  <a:pt x="1260059" y="5857480"/>
                  <a:pt x="1277007" y="5849006"/>
                </a:cubicBezTo>
                <a:cubicBezTo>
                  <a:pt x="1317914" y="5828553"/>
                  <a:pt x="1378534" y="5825547"/>
                  <a:pt x="1418896" y="5817475"/>
                </a:cubicBezTo>
                <a:cubicBezTo>
                  <a:pt x="1440143" y="5813226"/>
                  <a:pt x="1461124" y="5807663"/>
                  <a:pt x="1481958" y="5801710"/>
                </a:cubicBezTo>
                <a:cubicBezTo>
                  <a:pt x="1497937" y="5797145"/>
                  <a:pt x="1512699" y="5787384"/>
                  <a:pt x="1529255" y="5785944"/>
                </a:cubicBezTo>
                <a:cubicBezTo>
                  <a:pt x="1634094" y="5776828"/>
                  <a:pt x="1739462" y="5775434"/>
                  <a:pt x="1844565" y="5770179"/>
                </a:cubicBezTo>
                <a:cubicBezTo>
                  <a:pt x="1886606" y="5764924"/>
                  <a:pt x="1928408" y="5757141"/>
                  <a:pt x="1970689" y="5754413"/>
                </a:cubicBezTo>
                <a:cubicBezTo>
                  <a:pt x="2091421" y="5746624"/>
                  <a:pt x="2212955" y="5751097"/>
                  <a:pt x="2333296" y="5738648"/>
                </a:cubicBezTo>
                <a:cubicBezTo>
                  <a:pt x="2366356" y="5735228"/>
                  <a:pt x="2396358" y="5717627"/>
                  <a:pt x="2427889" y="5707117"/>
                </a:cubicBezTo>
                <a:lnTo>
                  <a:pt x="2475186" y="5691351"/>
                </a:lnTo>
                <a:cubicBezTo>
                  <a:pt x="2485696" y="5675586"/>
                  <a:pt x="2493319" y="5657453"/>
                  <a:pt x="2506717" y="5644055"/>
                </a:cubicBezTo>
                <a:cubicBezTo>
                  <a:pt x="2520115" y="5630657"/>
                  <a:pt x="2542177" y="5627320"/>
                  <a:pt x="2554014" y="5612524"/>
                </a:cubicBezTo>
                <a:cubicBezTo>
                  <a:pt x="2564395" y="5599547"/>
                  <a:pt x="2563233" y="5580502"/>
                  <a:pt x="2569779" y="5565227"/>
                </a:cubicBezTo>
                <a:cubicBezTo>
                  <a:pt x="2652679" y="5371790"/>
                  <a:pt x="2553690" y="5613169"/>
                  <a:pt x="2632841" y="5454868"/>
                </a:cubicBezTo>
                <a:cubicBezTo>
                  <a:pt x="2640273" y="5440004"/>
                  <a:pt x="2640362" y="5422001"/>
                  <a:pt x="2648607" y="5407572"/>
                </a:cubicBezTo>
                <a:cubicBezTo>
                  <a:pt x="2661643" y="5384758"/>
                  <a:pt x="2680631" y="5365892"/>
                  <a:pt x="2695903" y="5344510"/>
                </a:cubicBezTo>
                <a:cubicBezTo>
                  <a:pt x="2750776" y="5267687"/>
                  <a:pt x="2706178" y="5326528"/>
                  <a:pt x="2758965" y="5234151"/>
                </a:cubicBezTo>
                <a:cubicBezTo>
                  <a:pt x="2768366" y="5217700"/>
                  <a:pt x="2782022" y="5203802"/>
                  <a:pt x="2790496" y="5186855"/>
                </a:cubicBezTo>
                <a:cubicBezTo>
                  <a:pt x="2797928" y="5171991"/>
                  <a:pt x="2799716" y="5154833"/>
                  <a:pt x="2806262" y="5139558"/>
                </a:cubicBezTo>
                <a:cubicBezTo>
                  <a:pt x="2830265" y="5083550"/>
                  <a:pt x="2837657" y="5076700"/>
                  <a:pt x="2869324" y="5029200"/>
                </a:cubicBezTo>
                <a:lnTo>
                  <a:pt x="2932386" y="4840013"/>
                </a:lnTo>
                <a:cubicBezTo>
                  <a:pt x="2946157" y="4798701"/>
                  <a:pt x="2941894" y="4759885"/>
                  <a:pt x="2979682" y="4729655"/>
                </a:cubicBezTo>
                <a:cubicBezTo>
                  <a:pt x="2989964" y="4721429"/>
                  <a:pt x="3085918" y="4699155"/>
                  <a:pt x="3090041" y="4698124"/>
                </a:cubicBezTo>
                <a:cubicBezTo>
                  <a:pt x="3105807" y="4687614"/>
                  <a:pt x="3120391" y="4675067"/>
                  <a:pt x="3137338" y="4666593"/>
                </a:cubicBezTo>
                <a:cubicBezTo>
                  <a:pt x="3152202" y="4659161"/>
                  <a:pt x="3168512" y="4654858"/>
                  <a:pt x="3184634" y="4650827"/>
                </a:cubicBezTo>
                <a:cubicBezTo>
                  <a:pt x="3252653" y="4633822"/>
                  <a:pt x="3321269" y="4619296"/>
                  <a:pt x="3389586" y="4603531"/>
                </a:cubicBezTo>
                <a:cubicBezTo>
                  <a:pt x="3527753" y="4465361"/>
                  <a:pt x="3352491" y="4634443"/>
                  <a:pt x="3484179" y="4524703"/>
                </a:cubicBezTo>
                <a:cubicBezTo>
                  <a:pt x="3559545" y="4461898"/>
                  <a:pt x="3506640" y="4497750"/>
                  <a:pt x="3563007" y="4430110"/>
                </a:cubicBezTo>
                <a:cubicBezTo>
                  <a:pt x="3577280" y="4412982"/>
                  <a:pt x="3594538" y="4398579"/>
                  <a:pt x="3610303" y="4382813"/>
                </a:cubicBezTo>
                <a:cubicBezTo>
                  <a:pt x="3649933" y="4263927"/>
                  <a:pt x="3596473" y="4410475"/>
                  <a:pt x="3657600" y="4288220"/>
                </a:cubicBezTo>
                <a:cubicBezTo>
                  <a:pt x="3665032" y="4273356"/>
                  <a:pt x="3666819" y="4256198"/>
                  <a:pt x="3673365" y="4240924"/>
                </a:cubicBezTo>
                <a:cubicBezTo>
                  <a:pt x="3682623" y="4219322"/>
                  <a:pt x="3696644" y="4199867"/>
                  <a:pt x="3704896" y="4177862"/>
                </a:cubicBezTo>
                <a:cubicBezTo>
                  <a:pt x="3712504" y="4157574"/>
                  <a:pt x="3714709" y="4135634"/>
                  <a:pt x="3720662" y="4114800"/>
                </a:cubicBezTo>
                <a:cubicBezTo>
                  <a:pt x="3725227" y="4098821"/>
                  <a:pt x="3731862" y="4083482"/>
                  <a:pt x="3736427" y="4067503"/>
                </a:cubicBezTo>
                <a:cubicBezTo>
                  <a:pt x="3742380" y="4046669"/>
                  <a:pt x="3745967" y="4025195"/>
                  <a:pt x="3752193" y="4004441"/>
                </a:cubicBezTo>
                <a:cubicBezTo>
                  <a:pt x="3814941" y="3795284"/>
                  <a:pt x="3752042" y="4004819"/>
                  <a:pt x="3815255" y="3846786"/>
                </a:cubicBezTo>
                <a:cubicBezTo>
                  <a:pt x="3871540" y="3706075"/>
                  <a:pt x="3817654" y="3795892"/>
                  <a:pt x="3878317" y="3704896"/>
                </a:cubicBezTo>
                <a:lnTo>
                  <a:pt x="3909848" y="3610303"/>
                </a:lnTo>
                <a:cubicBezTo>
                  <a:pt x="3915103" y="3594537"/>
                  <a:pt x="3916396" y="3576833"/>
                  <a:pt x="3925614" y="3563006"/>
                </a:cubicBezTo>
                <a:lnTo>
                  <a:pt x="3957145" y="3515710"/>
                </a:lnTo>
                <a:cubicBezTo>
                  <a:pt x="3984893" y="3432462"/>
                  <a:pt x="3963692" y="3482240"/>
                  <a:pt x="4035972" y="3373820"/>
                </a:cubicBezTo>
                <a:cubicBezTo>
                  <a:pt x="4045190" y="3359993"/>
                  <a:pt x="4043667" y="3341051"/>
                  <a:pt x="4051738" y="3326524"/>
                </a:cubicBezTo>
                <a:cubicBezTo>
                  <a:pt x="4070142" y="3293397"/>
                  <a:pt x="4093779" y="3263462"/>
                  <a:pt x="4114800" y="3231931"/>
                </a:cubicBezTo>
                <a:cubicBezTo>
                  <a:pt x="4288066" y="2972032"/>
                  <a:pt x="4126664" y="3192438"/>
                  <a:pt x="4193627" y="3058510"/>
                </a:cubicBezTo>
                <a:cubicBezTo>
                  <a:pt x="4202101" y="3041562"/>
                  <a:pt x="4216684" y="3028161"/>
                  <a:pt x="4225158" y="3011213"/>
                </a:cubicBezTo>
                <a:cubicBezTo>
                  <a:pt x="4237814" y="2985901"/>
                  <a:pt x="4244033" y="2957698"/>
                  <a:pt x="4256689" y="2932386"/>
                </a:cubicBezTo>
                <a:cubicBezTo>
                  <a:pt x="4270393" y="2904978"/>
                  <a:pt x="4290282" y="2880966"/>
                  <a:pt x="4303986" y="2853558"/>
                </a:cubicBezTo>
                <a:cubicBezTo>
                  <a:pt x="4311418" y="2838694"/>
                  <a:pt x="4313916" y="2821822"/>
                  <a:pt x="4319751" y="2806262"/>
                </a:cubicBezTo>
                <a:cubicBezTo>
                  <a:pt x="4329688" y="2779764"/>
                  <a:pt x="4338626" y="2752746"/>
                  <a:pt x="4351282" y="2727434"/>
                </a:cubicBezTo>
                <a:cubicBezTo>
                  <a:pt x="4359756" y="2710486"/>
                  <a:pt x="4372303" y="2695903"/>
                  <a:pt x="4382814" y="2680137"/>
                </a:cubicBezTo>
                <a:cubicBezTo>
                  <a:pt x="4446530" y="2488990"/>
                  <a:pt x="4387649" y="2682025"/>
                  <a:pt x="4430110" y="2490951"/>
                </a:cubicBezTo>
                <a:cubicBezTo>
                  <a:pt x="4433715" y="2474729"/>
                  <a:pt x="4435495" y="2456632"/>
                  <a:pt x="4445876" y="2443655"/>
                </a:cubicBezTo>
                <a:cubicBezTo>
                  <a:pt x="4457713" y="2428859"/>
                  <a:pt x="4477407" y="2422634"/>
                  <a:pt x="4493172" y="2412124"/>
                </a:cubicBezTo>
                <a:cubicBezTo>
                  <a:pt x="4523865" y="2320047"/>
                  <a:pt x="4484923" y="2404607"/>
                  <a:pt x="4556234" y="2333296"/>
                </a:cubicBezTo>
                <a:cubicBezTo>
                  <a:pt x="4569632" y="2319898"/>
                  <a:pt x="4575929" y="2300796"/>
                  <a:pt x="4587765" y="2286000"/>
                </a:cubicBezTo>
                <a:cubicBezTo>
                  <a:pt x="4597050" y="2274393"/>
                  <a:pt x="4610011" y="2266075"/>
                  <a:pt x="4619296" y="2254468"/>
                </a:cubicBezTo>
                <a:cubicBezTo>
                  <a:pt x="4655102" y="2209710"/>
                  <a:pt x="4653743" y="2188491"/>
                  <a:pt x="4698124" y="2144110"/>
                </a:cubicBezTo>
                <a:cubicBezTo>
                  <a:pt x="4711522" y="2130712"/>
                  <a:pt x="4730002" y="2123592"/>
                  <a:pt x="4745420" y="2112579"/>
                </a:cubicBezTo>
                <a:cubicBezTo>
                  <a:pt x="4896139" y="2004921"/>
                  <a:pt x="4723393" y="2118409"/>
                  <a:pt x="4871545" y="2033751"/>
                </a:cubicBezTo>
                <a:cubicBezTo>
                  <a:pt x="4957119" y="1984852"/>
                  <a:pt x="4879421" y="2015360"/>
                  <a:pt x="4966138" y="1986455"/>
                </a:cubicBezTo>
                <a:cubicBezTo>
                  <a:pt x="5101680" y="1896093"/>
                  <a:pt x="4930188" y="2004430"/>
                  <a:pt x="5060731" y="1939158"/>
                </a:cubicBezTo>
                <a:cubicBezTo>
                  <a:pt x="5077678" y="1930684"/>
                  <a:pt x="5090712" y="1915322"/>
                  <a:pt x="5108027" y="1907627"/>
                </a:cubicBezTo>
                <a:cubicBezTo>
                  <a:pt x="5138399" y="1894128"/>
                  <a:pt x="5171089" y="1886606"/>
                  <a:pt x="5202620" y="1876096"/>
                </a:cubicBezTo>
                <a:cubicBezTo>
                  <a:pt x="5218386" y="1870841"/>
                  <a:pt x="5233466" y="1862681"/>
                  <a:pt x="5249917" y="1860331"/>
                </a:cubicBezTo>
                <a:lnTo>
                  <a:pt x="5360276" y="1844565"/>
                </a:lnTo>
                <a:cubicBezTo>
                  <a:pt x="5376041" y="1839310"/>
                  <a:pt x="5391593" y="1833365"/>
                  <a:pt x="5407572" y="1828800"/>
                </a:cubicBezTo>
                <a:cubicBezTo>
                  <a:pt x="5428406" y="1822847"/>
                  <a:pt x="5450718" y="1821569"/>
                  <a:pt x="5470634" y="1813034"/>
                </a:cubicBezTo>
                <a:cubicBezTo>
                  <a:pt x="5517097" y="1793121"/>
                  <a:pt x="5527343" y="1766678"/>
                  <a:pt x="5565227" y="1734206"/>
                </a:cubicBezTo>
                <a:cubicBezTo>
                  <a:pt x="5585177" y="1717106"/>
                  <a:pt x="5606763" y="1701978"/>
                  <a:pt x="5628289" y="1686910"/>
                </a:cubicBezTo>
                <a:cubicBezTo>
                  <a:pt x="5659334" y="1665178"/>
                  <a:pt x="5696085" y="1650644"/>
                  <a:pt x="5722882" y="1623848"/>
                </a:cubicBezTo>
                <a:lnTo>
                  <a:pt x="5754414" y="1592317"/>
                </a:lnTo>
                <a:cubicBezTo>
                  <a:pt x="5764924" y="1571296"/>
                  <a:pt x="5774285" y="1549660"/>
                  <a:pt x="5785945" y="1529255"/>
                </a:cubicBezTo>
                <a:cubicBezTo>
                  <a:pt x="5795346" y="1512804"/>
                  <a:pt x="5809002" y="1498906"/>
                  <a:pt x="5817476" y="1481958"/>
                </a:cubicBezTo>
                <a:cubicBezTo>
                  <a:pt x="5833214" y="1450481"/>
                  <a:pt x="5830885" y="1409956"/>
                  <a:pt x="5864772" y="1387365"/>
                </a:cubicBezTo>
                <a:cubicBezTo>
                  <a:pt x="5882801" y="1375346"/>
                  <a:pt x="5907080" y="1377826"/>
                  <a:pt x="5927834" y="1371600"/>
                </a:cubicBezTo>
                <a:cubicBezTo>
                  <a:pt x="5959669" y="1362049"/>
                  <a:pt x="5990896" y="1350578"/>
                  <a:pt x="6022427" y="1340068"/>
                </a:cubicBezTo>
                <a:cubicBezTo>
                  <a:pt x="6199433" y="1281066"/>
                  <a:pt x="6053199" y="1324939"/>
                  <a:pt x="6479627" y="1308537"/>
                </a:cubicBezTo>
                <a:cubicBezTo>
                  <a:pt x="6511158" y="1298027"/>
                  <a:pt x="6544492" y="1291870"/>
                  <a:pt x="6574220" y="1277006"/>
                </a:cubicBezTo>
                <a:cubicBezTo>
                  <a:pt x="6597722" y="1265255"/>
                  <a:pt x="6617643" y="1247167"/>
                  <a:pt x="6637282" y="1229710"/>
                </a:cubicBezTo>
                <a:cubicBezTo>
                  <a:pt x="6665056" y="1205022"/>
                  <a:pt x="6689834" y="1177158"/>
                  <a:pt x="6716110" y="1150882"/>
                </a:cubicBezTo>
                <a:cubicBezTo>
                  <a:pt x="6731876" y="1135117"/>
                  <a:pt x="6751040" y="1122137"/>
                  <a:pt x="6763407" y="1103586"/>
                </a:cubicBezTo>
                <a:cubicBezTo>
                  <a:pt x="6788360" y="1066156"/>
                  <a:pt x="6812903" y="1027446"/>
                  <a:pt x="6842234" y="993227"/>
                </a:cubicBezTo>
                <a:cubicBezTo>
                  <a:pt x="6953378" y="863559"/>
                  <a:pt x="6814189" y="1058943"/>
                  <a:pt x="6952593" y="851337"/>
                </a:cubicBezTo>
                <a:lnTo>
                  <a:pt x="6984124" y="804041"/>
                </a:lnTo>
                <a:cubicBezTo>
                  <a:pt x="7014752" y="712152"/>
                  <a:pt x="6992457" y="771608"/>
                  <a:pt x="7062951" y="630620"/>
                </a:cubicBezTo>
                <a:cubicBezTo>
                  <a:pt x="7070383" y="615756"/>
                  <a:pt x="7071285" y="598188"/>
                  <a:pt x="7078717" y="583324"/>
                </a:cubicBezTo>
                <a:cubicBezTo>
                  <a:pt x="7087191" y="566377"/>
                  <a:pt x="7101774" y="552974"/>
                  <a:pt x="7110248" y="536027"/>
                </a:cubicBezTo>
                <a:cubicBezTo>
                  <a:pt x="7175521" y="405483"/>
                  <a:pt x="7067181" y="576982"/>
                  <a:pt x="7157545" y="441434"/>
                </a:cubicBezTo>
                <a:cubicBezTo>
                  <a:pt x="7215035" y="268955"/>
                  <a:pt x="7123349" y="530197"/>
                  <a:pt x="7204841" y="346841"/>
                </a:cubicBezTo>
                <a:cubicBezTo>
                  <a:pt x="7218340" y="316469"/>
                  <a:pt x="7225862" y="283779"/>
                  <a:pt x="7236372" y="252248"/>
                </a:cubicBezTo>
                <a:lnTo>
                  <a:pt x="7252138" y="204951"/>
                </a:lnTo>
                <a:cubicBezTo>
                  <a:pt x="7288172" y="96848"/>
                  <a:pt x="7245624" y="231009"/>
                  <a:pt x="7283669" y="78827"/>
                </a:cubicBezTo>
                <a:cubicBezTo>
                  <a:pt x="7293410" y="39861"/>
                  <a:pt x="7298889" y="32621"/>
                  <a:pt x="7315200" y="0"/>
                </a:cubicBezTo>
              </a:path>
            </a:pathLst>
          </a:custGeom>
          <a:noFill/>
          <a:ln w="9842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Up Arrow 4"/>
          <p:cNvSpPr/>
          <p:nvPr/>
        </p:nvSpPr>
        <p:spPr bwMode="auto">
          <a:xfrm>
            <a:off x="25400" y="76200"/>
            <a:ext cx="1447800" cy="9067800"/>
          </a:xfrm>
          <a:prstGeom prst="up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Your Growth in Experienc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6" name="Right Arrow 5"/>
          <p:cNvSpPr/>
          <p:nvPr/>
        </p:nvSpPr>
        <p:spPr bwMode="auto">
          <a:xfrm>
            <a:off x="406400" y="8382000"/>
            <a:ext cx="10058400" cy="1219200"/>
          </a:xfrm>
          <a:prstGeom prst="right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Over Tim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4" name="Slide Number Placeholder 13"/>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a:t>
            </a:fld>
            <a:endParaRPr lang="en-US" dirty="0">
              <a:solidFill>
                <a:prstClr val="black"/>
              </a:solidFill>
            </a:endParaRPr>
          </a:p>
        </p:txBody>
      </p:sp>
      <p:sp>
        <p:nvSpPr>
          <p:cNvPr id="10" name="Footer Placeholder 4"/>
          <p:cNvSpPr>
            <a:spLocks noGrp="1"/>
          </p:cNvSpPr>
          <p:nvPr>
            <p:ph type="ftr" sz="quarter" idx="3"/>
          </p:nvPr>
        </p:nvSpPr>
        <p:spPr/>
        <p:txBody>
          <a:bodyPr/>
          <a:lstStyle/>
          <a:p>
            <a:r>
              <a:rPr lang="en-US" dirty="0"/>
              <a:t>©2017 copyright Employee Performance Solutions, LLC  All Rights Reserved | For Use Within Client Organization</a:t>
            </a:r>
          </a:p>
        </p:txBody>
      </p:sp>
      <p:sp>
        <p:nvSpPr>
          <p:cNvPr id="19" name="TextBox 18">
            <a:extLst>
              <a:ext uri="{FF2B5EF4-FFF2-40B4-BE49-F238E27FC236}">
                <a16:creationId xmlns:a16="http://schemas.microsoft.com/office/drawing/2014/main" id="{87B8475E-8078-4261-AAB3-5304CBCF5916}"/>
              </a:ext>
            </a:extLst>
          </p:cNvPr>
          <p:cNvSpPr txBox="1"/>
          <p:nvPr/>
        </p:nvSpPr>
        <p:spPr>
          <a:xfrm>
            <a:off x="8636000" y="2667000"/>
            <a:ext cx="4368800" cy="8164284"/>
          </a:xfrm>
          <a:prstGeom prst="rect">
            <a:avLst/>
          </a:prstGeom>
          <a:noFill/>
        </p:spPr>
        <p:txBody>
          <a:bodyPr wrap="square" lIns="130046" tIns="65023" rIns="130046" bIns="65023" rtlCol="0">
            <a:spAutoFit/>
          </a:bodyPr>
          <a:lstStyle/>
          <a:p>
            <a:pPr algn="l"/>
            <a:r>
              <a:rPr lang="en-US" sz="3200" b="1" dirty="0">
                <a:solidFill>
                  <a:srgbClr val="0080C0"/>
                </a:solidFill>
                <a:latin typeface="Calibri" pitchFamily="34" charset="0"/>
              </a:rPr>
              <a:t>Instructions</a:t>
            </a:r>
            <a:br>
              <a:rPr lang="en-US" sz="3200" dirty="0">
                <a:solidFill>
                  <a:schemeClr val="tx1"/>
                </a:solidFill>
                <a:latin typeface="Calibri" pitchFamily="34" charset="0"/>
              </a:rPr>
            </a:br>
            <a:r>
              <a:rPr lang="en-US" sz="3200" dirty="0">
                <a:solidFill>
                  <a:schemeClr val="tx1"/>
                </a:solidFill>
                <a:latin typeface="Calibri" pitchFamily="34" charset="0"/>
              </a:rPr>
              <a:t>Describe:</a:t>
            </a:r>
          </a:p>
          <a:p>
            <a:pPr algn="l"/>
            <a:r>
              <a:rPr lang="en-US" sz="3200" dirty="0">
                <a:solidFill>
                  <a:schemeClr val="tx1"/>
                </a:solidFill>
                <a:latin typeface="Calibri" pitchFamily="34" charset="0"/>
              </a:rPr>
              <a:t>1. Where you started.</a:t>
            </a:r>
          </a:p>
          <a:p>
            <a:pPr algn="l"/>
            <a:r>
              <a:rPr lang="en-US" sz="3200" dirty="0">
                <a:solidFill>
                  <a:schemeClr val="tx1"/>
                </a:solidFill>
                <a:latin typeface="Calibri" pitchFamily="34" charset="0"/>
              </a:rPr>
              <a:t>2. Who influenced your work and helped you move ahead?</a:t>
            </a:r>
          </a:p>
          <a:p>
            <a:pPr algn="l"/>
            <a:r>
              <a:rPr lang="en-US" sz="3200" dirty="0">
                <a:solidFill>
                  <a:schemeClr val="tx1"/>
                </a:solidFill>
                <a:latin typeface="Calibri" pitchFamily="34" charset="0"/>
              </a:rPr>
              <a:t>3. What events propelled you forward at various points in your career?</a:t>
            </a:r>
          </a:p>
          <a:p>
            <a:endParaRPr lang="en-US" sz="2800" b="1" dirty="0">
              <a:solidFill>
                <a:schemeClr val="tx1"/>
              </a:solidFill>
              <a:latin typeface="Calibri" pitchFamily="34" charset="0"/>
            </a:endParaRPr>
          </a:p>
          <a:p>
            <a:endParaRPr lang="en-US" b="1" dirty="0">
              <a:solidFill>
                <a:schemeClr val="tx1"/>
              </a:solidFill>
              <a:latin typeface="Calibri" pitchFamily="34" charset="0"/>
            </a:endParaRPr>
          </a:p>
          <a:p>
            <a:endParaRPr lang="en-US" b="1" dirty="0">
              <a:solidFill>
                <a:srgbClr val="0070C0"/>
              </a:solidFill>
            </a:endParaRPr>
          </a:p>
          <a:p>
            <a:endParaRPr lang="en-US" b="1" dirty="0">
              <a:solidFill>
                <a:srgbClr val="0070C0"/>
              </a:solidFill>
            </a:endParaRPr>
          </a:p>
        </p:txBody>
      </p:sp>
      <p:grpSp>
        <p:nvGrpSpPr>
          <p:cNvPr id="11" name="Group 10"/>
          <p:cNvGrpSpPr/>
          <p:nvPr/>
        </p:nvGrpSpPr>
        <p:grpSpPr>
          <a:xfrm>
            <a:off x="10083800" y="7848600"/>
            <a:ext cx="2895600" cy="728870"/>
            <a:chOff x="10083800" y="8458200"/>
            <a:chExt cx="2895600" cy="728870"/>
          </a:xfrm>
        </p:grpSpPr>
        <p:sp>
          <p:nvSpPr>
            <p:cNvPr id="12" name="Text Box 4"/>
            <p:cNvSpPr txBox="1">
              <a:spLocks noChangeArrowheads="1"/>
            </p:cNvSpPr>
            <p:nvPr/>
          </p:nvSpPr>
          <p:spPr bwMode="auto">
            <a:xfrm>
              <a:off x="10315400" y="85443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10-Minutes</a:t>
              </a:r>
            </a:p>
            <a:p>
              <a:pPr marL="0" marR="0" lvl="0" indent="0" defTabSz="914400" rtl="0" eaLnBrk="1" fontAlgn="base" latinLnBrk="0" hangingPunct="1">
                <a:lnSpc>
                  <a:spcPct val="100000"/>
                </a:lnSpc>
                <a:spcBef>
                  <a:spcPct val="0"/>
                </a:spcBef>
                <a:spcAft>
                  <a:spcPct val="0"/>
                </a:spcAft>
                <a:buClrTx/>
                <a:buSzTx/>
                <a:buFontTx/>
                <a:buNone/>
                <a:tabLst/>
              </a:pP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13" name="Picture 3" descr="Image result for clock icon"/>
            <p:cNvPicPr>
              <a:picLocks noChangeAspect="1" noChangeArrowheads="1"/>
            </p:cNvPicPr>
            <p:nvPr/>
          </p:nvPicPr>
          <p:blipFill>
            <a:blip r:embed="rId4"/>
            <a:srcRect/>
            <a:stretch>
              <a:fillRect/>
            </a:stretch>
          </p:blipFill>
          <p:spPr bwMode="auto">
            <a:xfrm>
              <a:off x="10083800" y="8458200"/>
              <a:ext cx="732600" cy="728870"/>
            </a:xfrm>
            <a:prstGeom prst="rect">
              <a:avLst/>
            </a:prstGeom>
            <a:solidFill>
              <a:srgbClr val="74B230"/>
            </a:solidFill>
            <a:ln w="9525" algn="in">
              <a:noFill/>
              <a:miter lim="800000"/>
              <a:headEnd/>
              <a:tailEnd/>
            </a:ln>
          </p:spPr>
        </p:pic>
      </p:grpSp>
      <p:sp>
        <p:nvSpPr>
          <p:cNvPr id="16" name="TextBox 15"/>
          <p:cNvSpPr txBox="1"/>
          <p:nvPr/>
        </p:nvSpPr>
        <p:spPr>
          <a:xfrm>
            <a:off x="2311400" y="397381"/>
            <a:ext cx="7911253" cy="2193419"/>
          </a:xfrm>
          <a:prstGeom prst="rect">
            <a:avLst/>
          </a:prstGeom>
          <a:noFill/>
        </p:spPr>
        <p:txBody>
          <a:bodyPr wrap="square" lIns="130046" tIns="65023" rIns="130046" bIns="65023" rtlCol="0">
            <a:spAutoFit/>
          </a:bodyPr>
          <a:lstStyle/>
          <a:p>
            <a:pPr algn="l"/>
            <a:r>
              <a:rPr lang="en-US" sz="5400" b="1" dirty="0">
                <a:latin typeface="Calibri" pitchFamily="34" charset="0"/>
              </a:rPr>
              <a:t>Find a Partner and Explain Your </a:t>
            </a:r>
            <a:r>
              <a:rPr lang="en-US" sz="8000" b="1" dirty="0">
                <a:latin typeface="Calibri" pitchFamily="34" charset="0"/>
              </a:rPr>
              <a:t>Career Pattern</a:t>
            </a:r>
          </a:p>
        </p:txBody>
      </p:sp>
      <p:grpSp>
        <p:nvGrpSpPr>
          <p:cNvPr id="15" name="Group 14">
            <a:extLst>
              <a:ext uri="{FF2B5EF4-FFF2-40B4-BE49-F238E27FC236}">
                <a16:creationId xmlns:a16="http://schemas.microsoft.com/office/drawing/2014/main" id="{EBC121C6-AB30-480A-855A-74BDF626697C}"/>
              </a:ext>
            </a:extLst>
          </p:cNvPr>
          <p:cNvGrpSpPr/>
          <p:nvPr/>
        </p:nvGrpSpPr>
        <p:grpSpPr>
          <a:xfrm>
            <a:off x="9855200" y="9001780"/>
            <a:ext cx="2717800" cy="675620"/>
            <a:chOff x="11150600" y="7086600"/>
            <a:chExt cx="1270000" cy="675620"/>
          </a:xfrm>
        </p:grpSpPr>
        <p:pic>
          <p:nvPicPr>
            <p:cNvPr id="17" name="Picture 2">
              <a:extLst>
                <a:ext uri="{FF2B5EF4-FFF2-40B4-BE49-F238E27FC236}">
                  <a16:creationId xmlns:a16="http://schemas.microsoft.com/office/drawing/2014/main" id="{F2F1F5CE-D55D-46C5-8C08-F4EC48AE2C9E}"/>
                </a:ext>
              </a:extLst>
            </p:cNvPr>
            <p:cNvPicPr>
              <a:picLocks noChangeAspect="1" noChangeArrowheads="1"/>
            </p:cNvPicPr>
            <p:nvPr/>
          </p:nvPicPr>
          <p:blipFill>
            <a:blip r:embed="rId5"/>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18" name="TextBox 17">
              <a:extLst>
                <a:ext uri="{FF2B5EF4-FFF2-40B4-BE49-F238E27FC236}">
                  <a16:creationId xmlns:a16="http://schemas.microsoft.com/office/drawing/2014/main" id="{987104D2-4E0A-4939-A69F-3F9C8E9E5A83}"/>
                </a:ext>
              </a:extLst>
            </p:cNvPr>
            <p:cNvSpPr txBox="1"/>
            <p:nvPr/>
          </p:nvSpPr>
          <p:spPr>
            <a:xfrm>
              <a:off x="11303000" y="7239000"/>
              <a:ext cx="990600" cy="523220"/>
            </a:xfrm>
            <a:prstGeom prst="rect">
              <a:avLst/>
            </a:prstGeom>
            <a:noFill/>
          </p:spPr>
          <p:txBody>
            <a:bodyPr wrap="square" rtlCol="0">
              <a:spAutoFit/>
            </a:bodyPr>
            <a:lstStyle/>
            <a:p>
              <a:r>
                <a:rPr lang="en-US" sz="2800" b="1" dirty="0">
                  <a:solidFill>
                    <a:schemeClr val="bg1"/>
                  </a:solidFill>
                  <a:latin typeface="Calibri" pitchFamily="34" charset="0"/>
                </a:rPr>
                <a:t>Pg </a:t>
              </a:r>
            </a:p>
          </p:txBody>
        </p:sp>
      </p:grpSp>
    </p:spTree>
    <p:custDataLst>
      <p:tags r:id="rId1"/>
    </p:custDataLst>
    <p:extLst>
      <p:ext uri="{BB962C8B-B14F-4D97-AF65-F5344CB8AC3E}">
        <p14:creationId xmlns:p14="http://schemas.microsoft.com/office/powerpoint/2010/main" val="4212885533"/>
      </p:ext>
    </p:extLst>
  </p:cSld>
  <p:clrMapOvr>
    <a:masterClrMapping/>
  </p:clrMapOvr>
  <p:transition spd="slow">
    <p:cover dir="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0"/>
            <a:ext cx="13004800" cy="2133600"/>
          </a:xfrm>
        </p:spPr>
        <p:txBody>
          <a:bodyPr/>
          <a:lstStyle/>
          <a:p>
            <a:r>
              <a:rPr lang="en-US" sz="4800" dirty="0"/>
              <a:t>models to think about your </a:t>
            </a:r>
          </a:p>
          <a:p>
            <a:r>
              <a:rPr lang="en-US" sz="7200" b="1" dirty="0"/>
              <a:t>career and performance</a:t>
            </a:r>
            <a:endParaRPr lang="en-US" sz="9600" b="1" dirty="0">
              <a:solidFill>
                <a:srgbClr val="66FFFF"/>
              </a:solidFill>
            </a:endParaRP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0</a:t>
            </a:fld>
            <a:endParaRPr lang="en-US" dirty="0">
              <a:solidFill>
                <a:prstClr val="black"/>
              </a:solidFill>
            </a:endParaRPr>
          </a:p>
        </p:txBody>
      </p:sp>
      <p:sp>
        <p:nvSpPr>
          <p:cNvPr id="21" name="Rectangle 20"/>
          <p:cNvSpPr/>
          <p:nvPr/>
        </p:nvSpPr>
        <p:spPr bwMode="auto">
          <a:xfrm>
            <a:off x="254000" y="525780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aphicFrame>
        <p:nvGraphicFramePr>
          <p:cNvPr id="6" name="Diagram 5"/>
          <p:cNvGraphicFramePr/>
          <p:nvPr/>
        </p:nvGraphicFramePr>
        <p:xfrm>
          <a:off x="1" y="2619963"/>
          <a:ext cx="13004800" cy="57799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3"/>
          <p:cNvPicPr>
            <a:picLocks noChangeAspect="1" noChangeArrowheads="1"/>
          </p:cNvPicPr>
          <p:nvPr/>
        </p:nvPicPr>
        <p:blipFill>
          <a:blip r:embed="rId9"/>
          <a:srcRect l="29656" b="35090"/>
          <a:stretch>
            <a:fillRect/>
          </a:stretch>
        </p:blipFill>
        <p:spPr bwMode="auto">
          <a:xfrm>
            <a:off x="4749800" y="3505200"/>
            <a:ext cx="4781505" cy="3657600"/>
          </a:xfrm>
          <a:prstGeom prst="rect">
            <a:avLst/>
          </a:prstGeom>
          <a:ln>
            <a:noFill/>
          </a:ln>
          <a:effectLst>
            <a:outerShdw blurRad="292100" dist="139700" dir="2700000" algn="tl" rotWithShape="0">
              <a:srgbClr val="333333">
                <a:alpha val="65000"/>
              </a:srgbClr>
            </a:outerShdw>
          </a:effectLst>
        </p:spPr>
      </p:pic>
      <p:pic>
        <p:nvPicPr>
          <p:cNvPr id="10242" name="Picture 2"/>
          <p:cNvPicPr>
            <a:picLocks noChangeAspect="1" noChangeArrowheads="1"/>
          </p:cNvPicPr>
          <p:nvPr/>
        </p:nvPicPr>
        <p:blipFill>
          <a:blip r:embed="rId10"/>
          <a:srcRect/>
          <a:stretch>
            <a:fillRect/>
          </a:stretch>
        </p:blipFill>
        <p:spPr bwMode="auto">
          <a:xfrm>
            <a:off x="482600" y="3429000"/>
            <a:ext cx="4061585" cy="369051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0"/>
            <a:ext cx="13004800" cy="1905000"/>
          </a:xfrm>
        </p:spPr>
        <p:txBody>
          <a:bodyPr/>
          <a:lstStyle/>
          <a:p>
            <a:r>
              <a:rPr lang="en-US" sz="9600" b="1" dirty="0">
                <a:solidFill>
                  <a:schemeClr val="bg1"/>
                </a:solidFill>
              </a:rPr>
              <a:t>Real-Time Insight</a:t>
            </a: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1</a:t>
            </a:fld>
            <a:endParaRPr lang="en-US" dirty="0">
              <a:solidFill>
                <a:prstClr val="black"/>
              </a:solidFill>
            </a:endParaRPr>
          </a:p>
        </p:txBody>
      </p:sp>
      <p:sp>
        <p:nvSpPr>
          <p:cNvPr id="21" name="Rectangle 20"/>
          <p:cNvSpPr/>
          <p:nvPr/>
        </p:nvSpPr>
        <p:spPr bwMode="auto">
          <a:xfrm>
            <a:off x="254000" y="525780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Right Arrow 12"/>
          <p:cNvSpPr/>
          <p:nvPr/>
        </p:nvSpPr>
        <p:spPr>
          <a:xfrm>
            <a:off x="216750" y="3135490"/>
            <a:ext cx="12571300" cy="5779910"/>
          </a:xfrm>
          <a:prstGeom prst="rightArrow">
            <a:avLst/>
          </a:prstGeom>
          <a:blipFill rotWithShape="0">
            <a:blip r:embed="rId4"/>
            <a:stretch>
              <a:fillRect/>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pic>
        <p:nvPicPr>
          <p:cNvPr id="14" name="Picture 3"/>
          <p:cNvPicPr>
            <a:picLocks noChangeAspect="1" noChangeArrowheads="1"/>
          </p:cNvPicPr>
          <p:nvPr/>
        </p:nvPicPr>
        <p:blipFill>
          <a:blip r:embed="rId5" cstate="print"/>
          <a:srcRect/>
          <a:stretch>
            <a:fillRect/>
          </a:stretch>
        </p:blipFill>
        <p:spPr bwMode="auto">
          <a:xfrm>
            <a:off x="4660053" y="4338772"/>
            <a:ext cx="3017660" cy="4334933"/>
          </a:xfrm>
          <a:prstGeom prst="rect">
            <a:avLst/>
          </a:prstGeom>
          <a:ln>
            <a:noFill/>
          </a:ln>
          <a:effectLst>
            <a:outerShdw blurRad="292100" dist="139700" dir="2700000" algn="tl" rotWithShape="0">
              <a:srgbClr val="333333">
                <a:alpha val="65000"/>
              </a:srgbClr>
            </a:outerShdw>
          </a:effectLst>
        </p:spPr>
      </p:pic>
      <p:pic>
        <p:nvPicPr>
          <p:cNvPr id="15" name="Picture 2"/>
          <p:cNvPicPr>
            <a:picLocks noChangeAspect="1" noChangeArrowheads="1"/>
          </p:cNvPicPr>
          <p:nvPr/>
        </p:nvPicPr>
        <p:blipFill>
          <a:blip r:embed="rId6" cstate="print"/>
          <a:srcRect/>
          <a:stretch>
            <a:fillRect/>
          </a:stretch>
        </p:blipFill>
        <p:spPr bwMode="auto">
          <a:xfrm flipH="1">
            <a:off x="7802881" y="4338772"/>
            <a:ext cx="3034458" cy="4396006"/>
          </a:xfrm>
          <a:prstGeom prst="rect">
            <a:avLst/>
          </a:prstGeom>
          <a:ln>
            <a:noFill/>
          </a:ln>
          <a:effectLst>
            <a:outerShdw blurRad="292100" dist="139700" dir="2700000" algn="tl" rotWithShape="0">
              <a:srgbClr val="333333">
                <a:alpha val="65000"/>
              </a:srgbClr>
            </a:outerShdw>
          </a:effectLst>
        </p:spPr>
      </p:pic>
      <p:sp>
        <p:nvSpPr>
          <p:cNvPr id="17" name="Rounded Rectangle 16"/>
          <p:cNvSpPr/>
          <p:nvPr/>
        </p:nvSpPr>
        <p:spPr>
          <a:xfrm>
            <a:off x="7802876" y="4772265"/>
            <a:ext cx="2817707" cy="1733973"/>
          </a:xfrm>
          <a:prstGeom prst="round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30046" tIns="65023" rIns="130046" bIns="65023" rtlCol="0" anchor="ctr"/>
          <a:lstStyle/>
          <a:p>
            <a:pPr algn="ctr"/>
            <a:endParaRPr lang="en-US"/>
          </a:p>
        </p:txBody>
      </p:sp>
      <p:pic>
        <p:nvPicPr>
          <p:cNvPr id="18" name="Picture 9"/>
          <p:cNvPicPr>
            <a:picLocks noChangeAspect="1" noChangeArrowheads="1"/>
          </p:cNvPicPr>
          <p:nvPr/>
        </p:nvPicPr>
        <p:blipFill>
          <a:blip r:embed="rId7" cstate="print"/>
          <a:srcRect/>
          <a:stretch>
            <a:fillRect/>
          </a:stretch>
        </p:blipFill>
        <p:spPr bwMode="auto">
          <a:xfrm>
            <a:off x="1083734" y="4338772"/>
            <a:ext cx="3425711" cy="4334933"/>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939800" y="3048000"/>
            <a:ext cx="3200400" cy="1446550"/>
          </a:xfrm>
          <a:prstGeom prst="rect">
            <a:avLst/>
          </a:prstGeom>
          <a:noFill/>
        </p:spPr>
        <p:txBody>
          <a:bodyPr wrap="square" rtlCol="0">
            <a:spAutoFit/>
          </a:bodyPr>
          <a:lstStyle/>
          <a:p>
            <a:r>
              <a:rPr lang="en-US" sz="4400" dirty="0">
                <a:latin typeface="Calibri" pitchFamily="34" charset="0"/>
              </a:rPr>
              <a:t>One-Thing</a:t>
            </a:r>
          </a:p>
          <a:p>
            <a:r>
              <a:rPr lang="en-US" sz="4400" dirty="0">
                <a:latin typeface="Calibri" pitchFamily="34" charset="0"/>
              </a:rPr>
              <a:t>Questions</a:t>
            </a:r>
          </a:p>
        </p:txBody>
      </p:sp>
      <p:sp>
        <p:nvSpPr>
          <p:cNvPr id="19" name="TextBox 18"/>
          <p:cNvSpPr txBox="1"/>
          <p:nvPr/>
        </p:nvSpPr>
        <p:spPr>
          <a:xfrm>
            <a:off x="4445000" y="3054895"/>
            <a:ext cx="3200400" cy="1446550"/>
          </a:xfrm>
          <a:prstGeom prst="rect">
            <a:avLst/>
          </a:prstGeom>
          <a:noFill/>
        </p:spPr>
        <p:txBody>
          <a:bodyPr wrap="square" rtlCol="0">
            <a:spAutoFit/>
          </a:bodyPr>
          <a:lstStyle/>
          <a:p>
            <a:r>
              <a:rPr lang="en-US" sz="4400" dirty="0">
                <a:latin typeface="Calibri" pitchFamily="34" charset="0"/>
              </a:rPr>
              <a:t>Clarifying</a:t>
            </a:r>
          </a:p>
          <a:p>
            <a:r>
              <a:rPr lang="en-US" sz="4400" dirty="0">
                <a:latin typeface="Calibri" pitchFamily="34" charset="0"/>
              </a:rPr>
              <a:t>Questions</a:t>
            </a:r>
          </a:p>
        </p:txBody>
      </p:sp>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0"/>
            <a:ext cx="13004800" cy="1905000"/>
          </a:xfrm>
        </p:spPr>
        <p:txBody>
          <a:bodyPr/>
          <a:lstStyle/>
          <a:p>
            <a:r>
              <a:rPr lang="en-US" sz="8800" b="1" dirty="0">
                <a:solidFill>
                  <a:schemeClr val="bg1"/>
                </a:solidFill>
              </a:rPr>
              <a:t>Positive Feedback Steps</a:t>
            </a: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2</a:t>
            </a:fld>
            <a:endParaRPr lang="en-US" dirty="0">
              <a:solidFill>
                <a:prstClr val="black"/>
              </a:solidFill>
            </a:endParaRPr>
          </a:p>
        </p:txBody>
      </p:sp>
      <p:sp>
        <p:nvSpPr>
          <p:cNvPr id="21" name="Rectangle 20"/>
          <p:cNvSpPr/>
          <p:nvPr/>
        </p:nvSpPr>
        <p:spPr bwMode="auto">
          <a:xfrm>
            <a:off x="254000" y="525780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Right Arrow 11"/>
          <p:cNvSpPr/>
          <p:nvPr/>
        </p:nvSpPr>
        <p:spPr>
          <a:xfrm>
            <a:off x="-203200" y="2057400"/>
            <a:ext cx="13208000" cy="5779910"/>
          </a:xfrm>
          <a:prstGeom prst="rightArrow">
            <a:avLst/>
          </a:prstGeom>
          <a:blipFill rotWithShape="0">
            <a:blip r:embed="rId4"/>
            <a:stretch>
              <a:fillRect/>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pic>
        <p:nvPicPr>
          <p:cNvPr id="8194" name="Picture 2"/>
          <p:cNvPicPr>
            <a:picLocks noChangeAspect="1" noChangeArrowheads="1"/>
          </p:cNvPicPr>
          <p:nvPr/>
        </p:nvPicPr>
        <p:blipFill>
          <a:blip r:embed="rId5"/>
          <a:srcRect/>
          <a:stretch>
            <a:fillRect/>
          </a:stretch>
        </p:blipFill>
        <p:spPr bwMode="auto">
          <a:xfrm>
            <a:off x="2768600" y="2209800"/>
            <a:ext cx="5915025" cy="697230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0"/>
            <a:ext cx="13004800" cy="1905000"/>
          </a:xfrm>
        </p:spPr>
        <p:txBody>
          <a:bodyPr/>
          <a:lstStyle/>
          <a:p>
            <a:r>
              <a:rPr lang="en-US" sz="6600" b="1" dirty="0">
                <a:solidFill>
                  <a:schemeClr val="bg1"/>
                </a:solidFill>
              </a:rPr>
              <a:t>Peer and Manager </a:t>
            </a:r>
            <a:br>
              <a:rPr lang="en-US" sz="6600" b="1" dirty="0">
                <a:solidFill>
                  <a:schemeClr val="bg1"/>
                </a:solidFill>
              </a:rPr>
            </a:br>
            <a:r>
              <a:rPr lang="en-US" sz="5400" dirty="0">
                <a:solidFill>
                  <a:schemeClr val="bg1"/>
                </a:solidFill>
              </a:rPr>
              <a:t>Question Driven Conversations</a:t>
            </a: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3</a:t>
            </a:fld>
            <a:endParaRPr lang="en-US" dirty="0">
              <a:solidFill>
                <a:prstClr val="black"/>
              </a:solidFill>
            </a:endParaRPr>
          </a:p>
        </p:txBody>
      </p:sp>
      <p:sp>
        <p:nvSpPr>
          <p:cNvPr id="21" name="Rectangle 20"/>
          <p:cNvSpPr/>
          <p:nvPr/>
        </p:nvSpPr>
        <p:spPr bwMode="auto">
          <a:xfrm>
            <a:off x="254000" y="525780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aphicFrame>
        <p:nvGraphicFramePr>
          <p:cNvPr id="9" name="Diagram 8"/>
          <p:cNvGraphicFramePr/>
          <p:nvPr/>
        </p:nvGraphicFramePr>
        <p:xfrm>
          <a:off x="254001" y="2743200"/>
          <a:ext cx="12750800" cy="57799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 name="TextBox 11"/>
          <p:cNvSpPr txBox="1"/>
          <p:nvPr/>
        </p:nvSpPr>
        <p:spPr>
          <a:xfrm>
            <a:off x="253999" y="2209800"/>
            <a:ext cx="4849173" cy="1877437"/>
          </a:xfrm>
          <a:prstGeom prst="rect">
            <a:avLst/>
          </a:prstGeom>
          <a:noFill/>
        </p:spPr>
        <p:txBody>
          <a:bodyPr wrap="square" rtlCol="0">
            <a:spAutoFit/>
          </a:bodyPr>
          <a:lstStyle/>
          <a:p>
            <a:r>
              <a:rPr lang="en-US" sz="3600" dirty="0">
                <a:latin typeface="Calibri" pitchFamily="34" charset="0"/>
              </a:rPr>
              <a:t>10-Minute Questions </a:t>
            </a:r>
          </a:p>
          <a:p>
            <a:r>
              <a:rPr lang="en-US" sz="4000" dirty="0">
                <a:latin typeface="Calibri" pitchFamily="34" charset="0"/>
              </a:rPr>
              <a:t>Conversation Worksheet</a:t>
            </a:r>
          </a:p>
        </p:txBody>
      </p:sp>
      <p:sp>
        <p:nvSpPr>
          <p:cNvPr id="17" name="TextBox 16"/>
          <p:cNvSpPr txBox="1"/>
          <p:nvPr/>
        </p:nvSpPr>
        <p:spPr>
          <a:xfrm>
            <a:off x="5054600" y="2209800"/>
            <a:ext cx="4114800" cy="1877437"/>
          </a:xfrm>
          <a:prstGeom prst="rect">
            <a:avLst/>
          </a:prstGeom>
          <a:noFill/>
        </p:spPr>
        <p:txBody>
          <a:bodyPr wrap="square" rtlCol="0">
            <a:spAutoFit/>
          </a:bodyPr>
          <a:lstStyle/>
          <a:p>
            <a:r>
              <a:rPr lang="en-US" sz="3600" dirty="0">
                <a:latin typeface="Calibri" pitchFamily="34" charset="0"/>
              </a:rPr>
              <a:t>5-Minute Questions</a:t>
            </a:r>
          </a:p>
          <a:p>
            <a:r>
              <a:rPr lang="en-US" sz="4000" dirty="0">
                <a:latin typeface="Calibri" pitchFamily="34" charset="0"/>
              </a:rPr>
              <a:t>Conversation Worksheet</a:t>
            </a:r>
          </a:p>
        </p:txBody>
      </p:sp>
      <p:pic>
        <p:nvPicPr>
          <p:cNvPr id="2" name="Picture 1">
            <a:extLst>
              <a:ext uri="{FF2B5EF4-FFF2-40B4-BE49-F238E27FC236}">
                <a16:creationId xmlns:a16="http://schemas.microsoft.com/office/drawing/2014/main" id="{89E665D8-CE76-4E0B-B692-7D2F8B53C55D}"/>
              </a:ext>
            </a:extLst>
          </p:cNvPr>
          <p:cNvPicPr>
            <a:picLocks noChangeAspect="1"/>
          </p:cNvPicPr>
          <p:nvPr/>
        </p:nvPicPr>
        <p:blipFill>
          <a:blip r:embed="rId9"/>
          <a:stretch>
            <a:fillRect/>
          </a:stretch>
        </p:blipFill>
        <p:spPr>
          <a:xfrm>
            <a:off x="701209" y="3928604"/>
            <a:ext cx="4337981" cy="5292054"/>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4309A8A2-33F6-4CB7-A929-3B5C60370FD4}"/>
              </a:ext>
            </a:extLst>
          </p:cNvPr>
          <p:cNvPicPr>
            <a:picLocks noChangeAspect="1"/>
          </p:cNvPicPr>
          <p:nvPr/>
        </p:nvPicPr>
        <p:blipFill>
          <a:blip r:embed="rId10"/>
          <a:stretch>
            <a:fillRect/>
          </a:stretch>
        </p:blipFill>
        <p:spPr>
          <a:xfrm>
            <a:off x="5448298" y="4005722"/>
            <a:ext cx="4224558" cy="505079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959658112"/>
      </p:ext>
    </p:extLst>
  </p:cSld>
  <p:clrMapOvr>
    <a:masterClrMapping/>
  </p:clrMapOvr>
  <p:transition spd="slow">
    <p:cover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solidFill>
            <a:srgbClr val="0070C0"/>
          </a:solidFill>
        </p:spPr>
        <p:txBody>
          <a:bodyPr/>
          <a:lstStyle/>
          <a:p>
            <a:endParaRPr lang="en-US" dirty="0"/>
          </a:p>
        </p:txBody>
      </p:sp>
      <p:sp>
        <p:nvSpPr>
          <p:cNvPr id="4" name="Title 3"/>
          <p:cNvSpPr>
            <a:spLocks noGrp="1"/>
          </p:cNvSpPr>
          <p:nvPr>
            <p:ph type="title"/>
          </p:nvPr>
        </p:nvSpPr>
        <p:spPr/>
        <p:txBody>
          <a:bodyPr/>
          <a:lstStyle/>
          <a:p>
            <a:r>
              <a:rPr lang="en-US" dirty="0"/>
              <a:t> </a:t>
            </a:r>
            <a:br>
              <a:rPr lang="en-US" dirty="0"/>
            </a:br>
            <a:r>
              <a:rPr lang="en-US" dirty="0"/>
              <a:t>Process and Timeline</a:t>
            </a:r>
          </a:p>
        </p:txBody>
      </p:sp>
      <p:sp>
        <p:nvSpPr>
          <p:cNvPr id="5" name="Text Placeholder 4"/>
          <p:cNvSpPr>
            <a:spLocks noGrp="1"/>
          </p:cNvSpPr>
          <p:nvPr>
            <p:ph type="body" sz="quarter" idx="13"/>
          </p:nvPr>
        </p:nvSpPr>
        <p:spPr>
          <a:xfrm>
            <a:off x="1397000" y="6629400"/>
            <a:ext cx="10744200" cy="990601"/>
          </a:xfrm>
        </p:spPr>
        <p:txBody>
          <a:bodyPr/>
          <a:lstStyle/>
          <a:p>
            <a:endParaRPr lang="en-US" dirty="0">
              <a:latin typeface="Articulate" pitchFamily="2" charset="0"/>
            </a:endParaRPr>
          </a:p>
        </p:txBody>
      </p:sp>
      <p:sp>
        <p:nvSpPr>
          <p:cNvPr id="6" name="Slide Number Placeholder 5"/>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4</a:t>
            </a:fld>
            <a:endParaRPr lang="en-US" dirty="0">
              <a:solidFill>
                <a:prstClr val="black"/>
              </a:solidFill>
            </a:endParaRPr>
          </a:p>
        </p:txBody>
      </p:sp>
    </p:spTree>
    <p:custDataLst>
      <p:tags r:id="rId1"/>
    </p:custDataLst>
    <p:extLst>
      <p:ext uri="{BB962C8B-B14F-4D97-AF65-F5344CB8AC3E}">
        <p14:creationId xmlns:p14="http://schemas.microsoft.com/office/powerpoint/2010/main" val="1918421194"/>
      </p:ext>
    </p:extLst>
  </p:cSld>
  <p:clrMapOvr>
    <a:masterClrMapping/>
  </p:clrMapOvr>
  <p:transition spd="slow">
    <p:random/>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85</a:t>
            </a:fld>
            <a:endParaRPr lang="en-US" dirty="0">
              <a:solidFill>
                <a:prstClr val="black"/>
              </a:solidFill>
            </a:endParaRPr>
          </a:p>
        </p:txBody>
      </p:sp>
      <p:sp>
        <p:nvSpPr>
          <p:cNvPr id="7" name="Footer Placeholder 6"/>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pic>
        <p:nvPicPr>
          <p:cNvPr id="157698" name="Picture 2"/>
          <p:cNvPicPr>
            <a:picLocks noChangeAspect="1" noChangeArrowheads="1"/>
          </p:cNvPicPr>
          <p:nvPr/>
        </p:nvPicPr>
        <p:blipFill>
          <a:blip r:embed="rId3"/>
          <a:srcRect/>
          <a:stretch>
            <a:fillRect/>
          </a:stretch>
        </p:blipFill>
        <p:spPr bwMode="auto">
          <a:xfrm>
            <a:off x="0" y="0"/>
            <a:ext cx="13053670" cy="9717220"/>
          </a:xfrm>
          <a:prstGeom prst="rect">
            <a:avLst/>
          </a:prstGeom>
          <a:noFill/>
          <a:ln w="9525">
            <a:noFill/>
            <a:miter lim="800000"/>
            <a:headEnd/>
            <a:tailEnd/>
          </a:ln>
        </p:spPr>
      </p:pic>
      <p:sp>
        <p:nvSpPr>
          <p:cNvPr id="9" name="TextBox 8"/>
          <p:cNvSpPr txBox="1"/>
          <p:nvPr/>
        </p:nvSpPr>
        <p:spPr>
          <a:xfrm>
            <a:off x="0" y="7391400"/>
            <a:ext cx="13004800" cy="3416320"/>
          </a:xfrm>
          <a:prstGeom prst="rect">
            <a:avLst/>
          </a:prstGeom>
          <a:noFill/>
        </p:spPr>
        <p:txBody>
          <a:bodyPr wrap="square" rtlCol="0">
            <a:spAutoFit/>
          </a:bodyPr>
          <a:lstStyle/>
          <a:p>
            <a:r>
              <a:rPr lang="en-US" sz="7200" dirty="0">
                <a:solidFill>
                  <a:schemeClr val="tx1">
                    <a:lumMod val="50000"/>
                    <a:lumOff val="50000"/>
                  </a:schemeClr>
                </a:solidFill>
                <a:latin typeface="Calibri" pitchFamily="34" charset="0"/>
              </a:rPr>
              <a:t>Your career, performance, </a:t>
            </a:r>
          </a:p>
          <a:p>
            <a:r>
              <a:rPr lang="en-US" sz="7200" dirty="0">
                <a:solidFill>
                  <a:schemeClr val="tx1">
                    <a:lumMod val="50000"/>
                    <a:lumOff val="50000"/>
                  </a:schemeClr>
                </a:solidFill>
                <a:latin typeface="Calibri" pitchFamily="34" charset="0"/>
              </a:rPr>
              <a:t>and potential</a:t>
            </a:r>
          </a:p>
          <a:p>
            <a:endParaRPr lang="en-US" sz="7200" dirty="0">
              <a:solidFill>
                <a:schemeClr val="bg1"/>
              </a:solidFill>
              <a:latin typeface="Calibri" pitchFamily="34" charset="0"/>
            </a:endParaRPr>
          </a:p>
        </p:txBody>
      </p:sp>
    </p:spTree>
    <p:custDataLst>
      <p:tags r:id="rId1"/>
    </p:custDataLst>
  </p:cSld>
  <p:clrMapOvr>
    <a:masterClrMapping/>
  </p:clrMapOvr>
  <p:transition spd="slow">
    <p:random/>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0693400" y="10066867"/>
            <a:ext cx="3034453" cy="677333"/>
          </a:xfrm>
        </p:spPr>
        <p:txBody>
          <a:bodyPr/>
          <a:lstStyle/>
          <a:p>
            <a:pPr>
              <a:defRPr/>
            </a:pPr>
            <a:fld id="{7C0A6E37-841E-4E23-95AD-DF9C80D768D7}" type="slidenum">
              <a:rPr lang="en-US" smtClean="0">
                <a:solidFill>
                  <a:prstClr val="black"/>
                </a:solidFill>
              </a:rPr>
              <a:pPr>
                <a:defRPr/>
              </a:pPr>
              <a:t>86</a:t>
            </a:fld>
            <a:endParaRPr lang="en-US" dirty="0">
              <a:solidFill>
                <a:prstClr val="black"/>
              </a:solidFill>
            </a:endParaRPr>
          </a:p>
        </p:txBody>
      </p:sp>
      <p:sp>
        <p:nvSpPr>
          <p:cNvPr id="5" name="Footer Placeholder 4"/>
          <p:cNvSpPr>
            <a:spLocks noGrp="1"/>
          </p:cNvSpPr>
          <p:nvPr>
            <p:ph type="ftr" sz="quarter" idx="3"/>
          </p:nvPr>
        </p:nvSpPr>
        <p:spPr>
          <a:xfrm>
            <a:off x="-50800" y="10038822"/>
            <a:ext cx="8458199" cy="519112"/>
          </a:xfrm>
        </p:spPr>
        <p:txBody>
          <a:body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558800" y="1947334"/>
            <a:ext cx="4953000" cy="60198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TextBox 10"/>
          <p:cNvSpPr txBox="1"/>
          <p:nvPr/>
        </p:nvSpPr>
        <p:spPr>
          <a:xfrm>
            <a:off x="1168400" y="2099734"/>
            <a:ext cx="3840575" cy="3046853"/>
          </a:xfrm>
          <a:prstGeom prst="rect">
            <a:avLst/>
          </a:prstGeom>
          <a:noFill/>
        </p:spPr>
        <p:txBody>
          <a:bodyPr wrap="square" lIns="91314" tIns="45653" rIns="91314" bIns="45653" rtlCol="0">
            <a:spAutoFit/>
          </a:bodyPr>
          <a:lstStyle/>
          <a:p>
            <a:r>
              <a:rPr lang="en-US" sz="4800" b="1" dirty="0">
                <a:solidFill>
                  <a:schemeClr val="bg1"/>
                </a:solidFill>
                <a:latin typeface="Roboto Medium" pitchFamily="2" charset="0"/>
                <a:ea typeface="Roboto Medium" pitchFamily="2" charset="0"/>
                <a:cs typeface="Roboto Medium" pitchFamily="2" charset="0"/>
              </a:rPr>
              <a:t>What’s one thing you learned and will use?</a:t>
            </a:r>
          </a:p>
        </p:txBody>
      </p:sp>
      <p:sp>
        <p:nvSpPr>
          <p:cNvPr id="13" name="Rectangular Callout 12"/>
          <p:cNvSpPr/>
          <p:nvPr/>
        </p:nvSpPr>
        <p:spPr bwMode="auto">
          <a:xfrm>
            <a:off x="7416800" y="1947334"/>
            <a:ext cx="4953000" cy="60198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nvGrpSpPr>
          <p:cNvPr id="15" name="Group 14"/>
          <p:cNvGrpSpPr/>
          <p:nvPr/>
        </p:nvGrpSpPr>
        <p:grpSpPr>
          <a:xfrm>
            <a:off x="4673600" y="5791200"/>
            <a:ext cx="3841717" cy="3962400"/>
            <a:chOff x="4749800" y="5757334"/>
            <a:chExt cx="3841717" cy="3962400"/>
          </a:xfrm>
        </p:grpSpPr>
        <p:pic>
          <p:nvPicPr>
            <p:cNvPr id="153602" name="Picture 2"/>
            <p:cNvPicPr>
              <a:picLocks noChangeAspect="1" noChangeArrowheads="1"/>
            </p:cNvPicPr>
            <p:nvPr/>
          </p:nvPicPr>
          <p:blipFill>
            <a:blip r:embed="rId3"/>
            <a:srcRect/>
            <a:stretch>
              <a:fillRect/>
            </a:stretch>
          </p:blipFill>
          <p:spPr bwMode="auto">
            <a:xfrm>
              <a:off x="4749800" y="5757334"/>
              <a:ext cx="3841717" cy="3962400"/>
            </a:xfrm>
            <a:prstGeom prst="rect">
              <a:avLst/>
            </a:prstGeom>
            <a:noFill/>
            <a:ln w="9525">
              <a:noFill/>
              <a:miter lim="800000"/>
              <a:headEnd/>
              <a:tailEnd/>
            </a:ln>
          </p:spPr>
        </p:pic>
        <p:sp>
          <p:nvSpPr>
            <p:cNvPr id="12" name="TextBox 11"/>
            <p:cNvSpPr txBox="1"/>
            <p:nvPr/>
          </p:nvSpPr>
          <p:spPr>
            <a:xfrm>
              <a:off x="4902200" y="6443134"/>
              <a:ext cx="3581400" cy="2123523"/>
            </a:xfrm>
            <a:prstGeom prst="rect">
              <a:avLst/>
            </a:prstGeom>
            <a:noFill/>
          </p:spPr>
          <p:txBody>
            <a:bodyPr wrap="square" lIns="91314" tIns="45653" rIns="91314" bIns="45653" rtlCol="0">
              <a:spAutoFit/>
            </a:bodyPr>
            <a:lstStyle/>
            <a:p>
              <a:r>
                <a:rPr lang="en-US" sz="4400" b="1" dirty="0">
                  <a:solidFill>
                    <a:schemeClr val="tx1">
                      <a:lumMod val="50000"/>
                      <a:lumOff val="50000"/>
                    </a:schemeClr>
                  </a:solidFill>
                  <a:latin typeface="Leelawadee" pitchFamily="34" charset="-34"/>
                  <a:cs typeface="Leelawadee" pitchFamily="34" charset="-34"/>
                </a:rPr>
                <a:t>Record </a:t>
              </a:r>
              <a:r>
                <a:rPr lang="en-US" sz="4400" b="1">
                  <a:solidFill>
                    <a:schemeClr val="tx1">
                      <a:lumMod val="50000"/>
                      <a:lumOff val="50000"/>
                    </a:schemeClr>
                  </a:solidFill>
                  <a:latin typeface="Leelawadee" pitchFamily="34" charset="-34"/>
                  <a:cs typeface="Leelawadee" pitchFamily="34" charset="-34"/>
                </a:rPr>
                <a:t>your answers on sticky notes</a:t>
              </a:r>
              <a:endParaRPr lang="en-US" sz="4400" b="1" dirty="0">
                <a:solidFill>
                  <a:schemeClr val="tx1">
                    <a:lumMod val="50000"/>
                    <a:lumOff val="50000"/>
                  </a:schemeClr>
                </a:solidFill>
                <a:latin typeface="Leelawadee" pitchFamily="34" charset="-34"/>
                <a:cs typeface="Leelawadee" pitchFamily="34" charset="-34"/>
              </a:endParaRPr>
            </a:p>
          </p:txBody>
        </p:sp>
      </p:grpSp>
      <p:sp>
        <p:nvSpPr>
          <p:cNvPr id="14" name="TextBox 13"/>
          <p:cNvSpPr txBox="1"/>
          <p:nvPr/>
        </p:nvSpPr>
        <p:spPr>
          <a:xfrm>
            <a:off x="7797800" y="2099734"/>
            <a:ext cx="3844420" cy="3477740"/>
          </a:xfrm>
          <a:prstGeom prst="rect">
            <a:avLst/>
          </a:prstGeom>
          <a:noFill/>
        </p:spPr>
        <p:txBody>
          <a:bodyPr wrap="square" lIns="91314" tIns="45653" rIns="91314" bIns="45653" rtlCol="0">
            <a:spAutoFit/>
          </a:bodyPr>
          <a:lstStyle/>
          <a:p>
            <a:r>
              <a:rPr lang="en-US" sz="4400" b="1" dirty="0">
                <a:solidFill>
                  <a:schemeClr val="bg1"/>
                </a:solidFill>
                <a:latin typeface="Roboto Medium" pitchFamily="2" charset="0"/>
                <a:ea typeface="Roboto Medium" pitchFamily="2" charset="0"/>
                <a:cs typeface="Roboto Medium" pitchFamily="2" charset="0"/>
              </a:rPr>
              <a:t>What’s one thing you have a question or comment about?</a:t>
            </a:r>
          </a:p>
        </p:txBody>
      </p:sp>
      <p:sp>
        <p:nvSpPr>
          <p:cNvPr id="16" name="Title 6"/>
          <p:cNvSpPr>
            <a:spLocks noGrp="1"/>
          </p:cNvSpPr>
          <p:nvPr>
            <p:ph type="title"/>
          </p:nvPr>
        </p:nvSpPr>
        <p:spPr>
          <a:xfrm>
            <a:off x="787400" y="228600"/>
            <a:ext cx="11703050" cy="1819275"/>
          </a:xfrm>
        </p:spPr>
        <p:txBody>
          <a:bodyPr/>
          <a:lstStyle/>
          <a:p>
            <a:r>
              <a:rPr lang="en-US" sz="4800" b="1" dirty="0">
                <a:solidFill>
                  <a:schemeClr val="tx1">
                    <a:lumMod val="65000"/>
                    <a:lumOff val="35000"/>
                  </a:schemeClr>
                </a:solidFill>
                <a:latin typeface="Arial" pitchFamily="34" charset="0"/>
                <a:cs typeface="Arial" pitchFamily="34" charset="0"/>
              </a:rPr>
              <a:t>Please Thoughts About the Progra</a:t>
            </a:r>
            <a:r>
              <a:rPr lang="en-US" sz="4800" b="1" dirty="0">
                <a:solidFill>
                  <a:schemeClr val="tx1">
                    <a:lumMod val="65000"/>
                    <a:lumOff val="35000"/>
                  </a:schemeClr>
                </a:solidFill>
              </a:rPr>
              <a:t>m</a:t>
            </a:r>
            <a:br>
              <a:rPr lang="en-US" sz="4800" b="1" dirty="0">
                <a:solidFill>
                  <a:schemeClr val="tx1">
                    <a:lumMod val="65000"/>
                    <a:lumOff val="35000"/>
                  </a:schemeClr>
                </a:solidFill>
                <a:latin typeface="Arial" pitchFamily="34" charset="0"/>
                <a:cs typeface="Arial" pitchFamily="34" charset="0"/>
              </a:rPr>
            </a:br>
            <a:endParaRPr lang="en-US" sz="4800" dirty="0">
              <a:solidFill>
                <a:schemeClr val="tx1">
                  <a:lumMod val="65000"/>
                  <a:lumOff val="35000"/>
                </a:schemeClr>
              </a:solidFill>
              <a:latin typeface="Arial" pitchFamily="34" charset="0"/>
              <a:cs typeface="Arial" pitchFamily="34" charset="0"/>
            </a:endParaRPr>
          </a:p>
        </p:txBody>
      </p:sp>
    </p:spTree>
    <p:custDataLst>
      <p:tags r:id="rId1"/>
    </p:custDataLst>
  </p:cSld>
  <p:clrMapOvr>
    <a:masterClrMapping/>
  </p:clrMapOvr>
  <p:transition spd="slow">
    <p:rand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auto">
          <a:xfrm>
            <a:off x="10439400" y="6705600"/>
            <a:ext cx="2387600" cy="2971800"/>
          </a:xfrm>
          <a:prstGeom prst="roundRect">
            <a:avLst/>
          </a:prstGeom>
          <a:solidFill>
            <a:schemeClr val="accent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TextBox 6"/>
          <p:cNvSpPr txBox="1"/>
          <p:nvPr/>
        </p:nvSpPr>
        <p:spPr>
          <a:xfrm>
            <a:off x="10845800" y="8915400"/>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8</a:t>
            </a:r>
          </a:p>
        </p:txBody>
      </p:sp>
      <p:pic>
        <p:nvPicPr>
          <p:cNvPr id="8" name="Picture 2"/>
          <p:cNvPicPr>
            <a:picLocks noChangeAspect="1" noChangeArrowheads="1"/>
          </p:cNvPicPr>
          <p:nvPr/>
        </p:nvPicPr>
        <p:blipFill>
          <a:blip r:embed="rId3"/>
          <a:srcRect/>
          <a:stretch>
            <a:fillRect/>
          </a:stretch>
        </p:blipFill>
        <p:spPr bwMode="auto">
          <a:xfrm>
            <a:off x="10693399" y="6477000"/>
            <a:ext cx="1944961" cy="263791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25" name="Rectangle 24"/>
          <p:cNvSpPr/>
          <p:nvPr/>
        </p:nvSpPr>
        <p:spPr>
          <a:xfrm>
            <a:off x="8453120" y="0"/>
            <a:ext cx="4551680" cy="9753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0046" tIns="65023" rIns="130046" bIns="65023" rtlCol="0" anchor="ctr"/>
          <a:lstStyle/>
          <a:p>
            <a:pPr algn="ctr"/>
            <a:endParaRPr lang="en-US"/>
          </a:p>
        </p:txBody>
      </p:sp>
      <p:sp>
        <p:nvSpPr>
          <p:cNvPr id="10" name="TextBox 9"/>
          <p:cNvSpPr txBox="1"/>
          <p:nvPr/>
        </p:nvSpPr>
        <p:spPr>
          <a:xfrm>
            <a:off x="8636001" y="228600"/>
            <a:ext cx="4368800" cy="3670746"/>
          </a:xfrm>
          <a:prstGeom prst="rect">
            <a:avLst/>
          </a:prstGeom>
          <a:noFill/>
        </p:spPr>
        <p:txBody>
          <a:bodyPr wrap="square" lIns="130046" tIns="65023" rIns="130046" bIns="65023" rtlCol="0">
            <a:spAutoFit/>
          </a:bodyPr>
          <a:lstStyle/>
          <a:p>
            <a:pPr algn="l"/>
            <a:r>
              <a:rPr lang="en-US" sz="2800" dirty="0">
                <a:solidFill>
                  <a:schemeClr val="bg1"/>
                </a:solidFill>
                <a:latin typeface="Calibri" pitchFamily="34" charset="0"/>
              </a:rPr>
              <a:t> </a:t>
            </a:r>
          </a:p>
          <a:p>
            <a:endParaRPr lang="en-US" sz="2800" b="1" dirty="0">
              <a:solidFill>
                <a:schemeClr val="bg1"/>
              </a:solidFill>
              <a:latin typeface="Calibri" pitchFamily="34" charset="0"/>
            </a:endParaRPr>
          </a:p>
          <a:p>
            <a:endParaRPr lang="en-US" b="1" dirty="0">
              <a:solidFill>
                <a:srgbClr val="0070C0"/>
              </a:solidFill>
              <a:latin typeface="Calibri" pitchFamily="34" charset="0"/>
            </a:endParaRPr>
          </a:p>
          <a:p>
            <a:endParaRPr lang="en-US" b="1" dirty="0">
              <a:solidFill>
                <a:srgbClr val="0070C0"/>
              </a:solidFill>
            </a:endParaRPr>
          </a:p>
          <a:p>
            <a:endParaRPr lang="en-US" b="1" dirty="0">
              <a:solidFill>
                <a:srgbClr val="0070C0"/>
              </a:solidFill>
            </a:endParaRPr>
          </a:p>
        </p:txBody>
      </p:sp>
      <p:sp>
        <p:nvSpPr>
          <p:cNvPr id="13" name="Up Arrow 12"/>
          <p:cNvSpPr/>
          <p:nvPr/>
        </p:nvSpPr>
        <p:spPr bwMode="auto">
          <a:xfrm>
            <a:off x="25400" y="76200"/>
            <a:ext cx="1447800" cy="9067800"/>
          </a:xfrm>
          <a:prstGeom prst="up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Your Growth in Experienc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sp>
        <p:nvSpPr>
          <p:cNvPr id="16" name="Freeform 15"/>
          <p:cNvSpPr/>
          <p:nvPr/>
        </p:nvSpPr>
        <p:spPr bwMode="auto">
          <a:xfrm>
            <a:off x="939800" y="2209800"/>
            <a:ext cx="7315200" cy="6731875"/>
          </a:xfrm>
          <a:custGeom>
            <a:avLst/>
            <a:gdLst>
              <a:gd name="connsiteX0" fmla="*/ 0 w 7315200"/>
              <a:gd name="connsiteY0" fmla="*/ 6731875 h 6731875"/>
              <a:gd name="connsiteX1" fmla="*/ 78827 w 7315200"/>
              <a:gd name="connsiteY1" fmla="*/ 6700344 h 6731875"/>
              <a:gd name="connsiteX2" fmla="*/ 110358 w 7315200"/>
              <a:gd name="connsiteY2" fmla="*/ 6653048 h 6731875"/>
              <a:gd name="connsiteX3" fmla="*/ 204951 w 7315200"/>
              <a:gd name="connsiteY3" fmla="*/ 6621517 h 6731875"/>
              <a:gd name="connsiteX4" fmla="*/ 299545 w 7315200"/>
              <a:gd name="connsiteY4" fmla="*/ 6558455 h 6731875"/>
              <a:gd name="connsiteX5" fmla="*/ 346841 w 7315200"/>
              <a:gd name="connsiteY5" fmla="*/ 6542689 h 6731875"/>
              <a:gd name="connsiteX6" fmla="*/ 441434 w 7315200"/>
              <a:gd name="connsiteY6" fmla="*/ 6463862 h 6731875"/>
              <a:gd name="connsiteX7" fmla="*/ 488731 w 7315200"/>
              <a:gd name="connsiteY7" fmla="*/ 6432331 h 6731875"/>
              <a:gd name="connsiteX8" fmla="*/ 551793 w 7315200"/>
              <a:gd name="connsiteY8" fmla="*/ 6385034 h 6731875"/>
              <a:gd name="connsiteX9" fmla="*/ 599089 w 7315200"/>
              <a:gd name="connsiteY9" fmla="*/ 6290441 h 6731875"/>
              <a:gd name="connsiteX10" fmla="*/ 646386 w 7315200"/>
              <a:gd name="connsiteY10" fmla="*/ 6274675 h 6731875"/>
              <a:gd name="connsiteX11" fmla="*/ 693682 w 7315200"/>
              <a:gd name="connsiteY11" fmla="*/ 6243144 h 6731875"/>
              <a:gd name="connsiteX12" fmla="*/ 914400 w 7315200"/>
              <a:gd name="connsiteY12" fmla="*/ 6211613 h 6731875"/>
              <a:gd name="connsiteX13" fmla="*/ 961696 w 7315200"/>
              <a:gd name="connsiteY13" fmla="*/ 6180082 h 6731875"/>
              <a:gd name="connsiteX14" fmla="*/ 1008993 w 7315200"/>
              <a:gd name="connsiteY14" fmla="*/ 6164317 h 6731875"/>
              <a:gd name="connsiteX15" fmla="*/ 1040524 w 7315200"/>
              <a:gd name="connsiteY15" fmla="*/ 6117020 h 6731875"/>
              <a:gd name="connsiteX16" fmla="*/ 1087820 w 7315200"/>
              <a:gd name="connsiteY16" fmla="*/ 6069724 h 6731875"/>
              <a:gd name="connsiteX17" fmla="*/ 1119351 w 7315200"/>
              <a:gd name="connsiteY17" fmla="*/ 6022427 h 6731875"/>
              <a:gd name="connsiteX18" fmla="*/ 1166648 w 7315200"/>
              <a:gd name="connsiteY18" fmla="*/ 5975131 h 6731875"/>
              <a:gd name="connsiteX19" fmla="*/ 1229710 w 7315200"/>
              <a:gd name="connsiteY19" fmla="*/ 5880537 h 6731875"/>
              <a:gd name="connsiteX20" fmla="*/ 1277007 w 7315200"/>
              <a:gd name="connsiteY20" fmla="*/ 5849006 h 6731875"/>
              <a:gd name="connsiteX21" fmla="*/ 1418896 w 7315200"/>
              <a:gd name="connsiteY21" fmla="*/ 5817475 h 6731875"/>
              <a:gd name="connsiteX22" fmla="*/ 1481958 w 7315200"/>
              <a:gd name="connsiteY22" fmla="*/ 5801710 h 6731875"/>
              <a:gd name="connsiteX23" fmla="*/ 1529255 w 7315200"/>
              <a:gd name="connsiteY23" fmla="*/ 5785944 h 6731875"/>
              <a:gd name="connsiteX24" fmla="*/ 1844565 w 7315200"/>
              <a:gd name="connsiteY24" fmla="*/ 5770179 h 6731875"/>
              <a:gd name="connsiteX25" fmla="*/ 1970689 w 7315200"/>
              <a:gd name="connsiteY25" fmla="*/ 5754413 h 6731875"/>
              <a:gd name="connsiteX26" fmla="*/ 2333296 w 7315200"/>
              <a:gd name="connsiteY26" fmla="*/ 5738648 h 6731875"/>
              <a:gd name="connsiteX27" fmla="*/ 2427889 w 7315200"/>
              <a:gd name="connsiteY27" fmla="*/ 5707117 h 6731875"/>
              <a:gd name="connsiteX28" fmla="*/ 2475186 w 7315200"/>
              <a:gd name="connsiteY28" fmla="*/ 5691351 h 6731875"/>
              <a:gd name="connsiteX29" fmla="*/ 2506717 w 7315200"/>
              <a:gd name="connsiteY29" fmla="*/ 5644055 h 6731875"/>
              <a:gd name="connsiteX30" fmla="*/ 2554014 w 7315200"/>
              <a:gd name="connsiteY30" fmla="*/ 5612524 h 6731875"/>
              <a:gd name="connsiteX31" fmla="*/ 2569779 w 7315200"/>
              <a:gd name="connsiteY31" fmla="*/ 5565227 h 6731875"/>
              <a:gd name="connsiteX32" fmla="*/ 2632841 w 7315200"/>
              <a:gd name="connsiteY32" fmla="*/ 5454868 h 6731875"/>
              <a:gd name="connsiteX33" fmla="*/ 2648607 w 7315200"/>
              <a:gd name="connsiteY33" fmla="*/ 5407572 h 6731875"/>
              <a:gd name="connsiteX34" fmla="*/ 2695903 w 7315200"/>
              <a:gd name="connsiteY34" fmla="*/ 5344510 h 6731875"/>
              <a:gd name="connsiteX35" fmla="*/ 2758965 w 7315200"/>
              <a:gd name="connsiteY35" fmla="*/ 5234151 h 6731875"/>
              <a:gd name="connsiteX36" fmla="*/ 2790496 w 7315200"/>
              <a:gd name="connsiteY36" fmla="*/ 5186855 h 6731875"/>
              <a:gd name="connsiteX37" fmla="*/ 2806262 w 7315200"/>
              <a:gd name="connsiteY37" fmla="*/ 5139558 h 6731875"/>
              <a:gd name="connsiteX38" fmla="*/ 2869324 w 7315200"/>
              <a:gd name="connsiteY38" fmla="*/ 5029200 h 6731875"/>
              <a:gd name="connsiteX39" fmla="*/ 2932386 w 7315200"/>
              <a:gd name="connsiteY39" fmla="*/ 4840013 h 6731875"/>
              <a:gd name="connsiteX40" fmla="*/ 2979682 w 7315200"/>
              <a:gd name="connsiteY40" fmla="*/ 4729655 h 6731875"/>
              <a:gd name="connsiteX41" fmla="*/ 3090041 w 7315200"/>
              <a:gd name="connsiteY41" fmla="*/ 4698124 h 6731875"/>
              <a:gd name="connsiteX42" fmla="*/ 3137338 w 7315200"/>
              <a:gd name="connsiteY42" fmla="*/ 4666593 h 6731875"/>
              <a:gd name="connsiteX43" fmla="*/ 3184634 w 7315200"/>
              <a:gd name="connsiteY43" fmla="*/ 4650827 h 6731875"/>
              <a:gd name="connsiteX44" fmla="*/ 3389586 w 7315200"/>
              <a:gd name="connsiteY44" fmla="*/ 4603531 h 6731875"/>
              <a:gd name="connsiteX45" fmla="*/ 3484179 w 7315200"/>
              <a:gd name="connsiteY45" fmla="*/ 4524703 h 6731875"/>
              <a:gd name="connsiteX46" fmla="*/ 3563007 w 7315200"/>
              <a:gd name="connsiteY46" fmla="*/ 4430110 h 6731875"/>
              <a:gd name="connsiteX47" fmla="*/ 3610303 w 7315200"/>
              <a:gd name="connsiteY47" fmla="*/ 4382813 h 6731875"/>
              <a:gd name="connsiteX48" fmla="*/ 3657600 w 7315200"/>
              <a:gd name="connsiteY48" fmla="*/ 4288220 h 6731875"/>
              <a:gd name="connsiteX49" fmla="*/ 3673365 w 7315200"/>
              <a:gd name="connsiteY49" fmla="*/ 4240924 h 6731875"/>
              <a:gd name="connsiteX50" fmla="*/ 3704896 w 7315200"/>
              <a:gd name="connsiteY50" fmla="*/ 4177862 h 6731875"/>
              <a:gd name="connsiteX51" fmla="*/ 3720662 w 7315200"/>
              <a:gd name="connsiteY51" fmla="*/ 4114800 h 6731875"/>
              <a:gd name="connsiteX52" fmla="*/ 3736427 w 7315200"/>
              <a:gd name="connsiteY52" fmla="*/ 4067503 h 6731875"/>
              <a:gd name="connsiteX53" fmla="*/ 3752193 w 7315200"/>
              <a:gd name="connsiteY53" fmla="*/ 4004441 h 6731875"/>
              <a:gd name="connsiteX54" fmla="*/ 3815255 w 7315200"/>
              <a:gd name="connsiteY54" fmla="*/ 3846786 h 6731875"/>
              <a:gd name="connsiteX55" fmla="*/ 3878317 w 7315200"/>
              <a:gd name="connsiteY55" fmla="*/ 3704896 h 6731875"/>
              <a:gd name="connsiteX56" fmla="*/ 3909848 w 7315200"/>
              <a:gd name="connsiteY56" fmla="*/ 3610303 h 6731875"/>
              <a:gd name="connsiteX57" fmla="*/ 3925614 w 7315200"/>
              <a:gd name="connsiteY57" fmla="*/ 3563006 h 6731875"/>
              <a:gd name="connsiteX58" fmla="*/ 3957145 w 7315200"/>
              <a:gd name="connsiteY58" fmla="*/ 3515710 h 6731875"/>
              <a:gd name="connsiteX59" fmla="*/ 4035972 w 7315200"/>
              <a:gd name="connsiteY59" fmla="*/ 3373820 h 6731875"/>
              <a:gd name="connsiteX60" fmla="*/ 4051738 w 7315200"/>
              <a:gd name="connsiteY60" fmla="*/ 3326524 h 6731875"/>
              <a:gd name="connsiteX61" fmla="*/ 4114800 w 7315200"/>
              <a:gd name="connsiteY61" fmla="*/ 3231931 h 6731875"/>
              <a:gd name="connsiteX62" fmla="*/ 4193627 w 7315200"/>
              <a:gd name="connsiteY62" fmla="*/ 3058510 h 6731875"/>
              <a:gd name="connsiteX63" fmla="*/ 4225158 w 7315200"/>
              <a:gd name="connsiteY63" fmla="*/ 3011213 h 6731875"/>
              <a:gd name="connsiteX64" fmla="*/ 4256689 w 7315200"/>
              <a:gd name="connsiteY64" fmla="*/ 2932386 h 6731875"/>
              <a:gd name="connsiteX65" fmla="*/ 4303986 w 7315200"/>
              <a:gd name="connsiteY65" fmla="*/ 2853558 h 6731875"/>
              <a:gd name="connsiteX66" fmla="*/ 4319751 w 7315200"/>
              <a:gd name="connsiteY66" fmla="*/ 2806262 h 6731875"/>
              <a:gd name="connsiteX67" fmla="*/ 4351282 w 7315200"/>
              <a:gd name="connsiteY67" fmla="*/ 2727434 h 6731875"/>
              <a:gd name="connsiteX68" fmla="*/ 4382814 w 7315200"/>
              <a:gd name="connsiteY68" fmla="*/ 2680137 h 6731875"/>
              <a:gd name="connsiteX69" fmla="*/ 4430110 w 7315200"/>
              <a:gd name="connsiteY69" fmla="*/ 2490951 h 6731875"/>
              <a:gd name="connsiteX70" fmla="*/ 4445876 w 7315200"/>
              <a:gd name="connsiteY70" fmla="*/ 2443655 h 6731875"/>
              <a:gd name="connsiteX71" fmla="*/ 4493172 w 7315200"/>
              <a:gd name="connsiteY71" fmla="*/ 2412124 h 6731875"/>
              <a:gd name="connsiteX72" fmla="*/ 4556234 w 7315200"/>
              <a:gd name="connsiteY72" fmla="*/ 2333296 h 6731875"/>
              <a:gd name="connsiteX73" fmla="*/ 4587765 w 7315200"/>
              <a:gd name="connsiteY73" fmla="*/ 2286000 h 6731875"/>
              <a:gd name="connsiteX74" fmla="*/ 4619296 w 7315200"/>
              <a:gd name="connsiteY74" fmla="*/ 2254468 h 6731875"/>
              <a:gd name="connsiteX75" fmla="*/ 4698124 w 7315200"/>
              <a:gd name="connsiteY75" fmla="*/ 2144110 h 6731875"/>
              <a:gd name="connsiteX76" fmla="*/ 4745420 w 7315200"/>
              <a:gd name="connsiteY76" fmla="*/ 2112579 h 6731875"/>
              <a:gd name="connsiteX77" fmla="*/ 4871545 w 7315200"/>
              <a:gd name="connsiteY77" fmla="*/ 2033751 h 6731875"/>
              <a:gd name="connsiteX78" fmla="*/ 4966138 w 7315200"/>
              <a:gd name="connsiteY78" fmla="*/ 1986455 h 6731875"/>
              <a:gd name="connsiteX79" fmla="*/ 5060731 w 7315200"/>
              <a:gd name="connsiteY79" fmla="*/ 1939158 h 6731875"/>
              <a:gd name="connsiteX80" fmla="*/ 5108027 w 7315200"/>
              <a:gd name="connsiteY80" fmla="*/ 1907627 h 6731875"/>
              <a:gd name="connsiteX81" fmla="*/ 5202620 w 7315200"/>
              <a:gd name="connsiteY81" fmla="*/ 1876096 h 6731875"/>
              <a:gd name="connsiteX82" fmla="*/ 5249917 w 7315200"/>
              <a:gd name="connsiteY82" fmla="*/ 1860331 h 6731875"/>
              <a:gd name="connsiteX83" fmla="*/ 5360276 w 7315200"/>
              <a:gd name="connsiteY83" fmla="*/ 1844565 h 6731875"/>
              <a:gd name="connsiteX84" fmla="*/ 5407572 w 7315200"/>
              <a:gd name="connsiteY84" fmla="*/ 1828800 h 6731875"/>
              <a:gd name="connsiteX85" fmla="*/ 5470634 w 7315200"/>
              <a:gd name="connsiteY85" fmla="*/ 1813034 h 6731875"/>
              <a:gd name="connsiteX86" fmla="*/ 5565227 w 7315200"/>
              <a:gd name="connsiteY86" fmla="*/ 1734206 h 6731875"/>
              <a:gd name="connsiteX87" fmla="*/ 5628289 w 7315200"/>
              <a:gd name="connsiteY87" fmla="*/ 1686910 h 6731875"/>
              <a:gd name="connsiteX88" fmla="*/ 5722882 w 7315200"/>
              <a:gd name="connsiteY88" fmla="*/ 1623848 h 6731875"/>
              <a:gd name="connsiteX89" fmla="*/ 5754414 w 7315200"/>
              <a:gd name="connsiteY89" fmla="*/ 1592317 h 6731875"/>
              <a:gd name="connsiteX90" fmla="*/ 5785945 w 7315200"/>
              <a:gd name="connsiteY90" fmla="*/ 1529255 h 6731875"/>
              <a:gd name="connsiteX91" fmla="*/ 5817476 w 7315200"/>
              <a:gd name="connsiteY91" fmla="*/ 1481958 h 6731875"/>
              <a:gd name="connsiteX92" fmla="*/ 5864772 w 7315200"/>
              <a:gd name="connsiteY92" fmla="*/ 1387365 h 6731875"/>
              <a:gd name="connsiteX93" fmla="*/ 5927834 w 7315200"/>
              <a:gd name="connsiteY93" fmla="*/ 1371600 h 6731875"/>
              <a:gd name="connsiteX94" fmla="*/ 6022427 w 7315200"/>
              <a:gd name="connsiteY94" fmla="*/ 1340068 h 6731875"/>
              <a:gd name="connsiteX95" fmla="*/ 6479627 w 7315200"/>
              <a:gd name="connsiteY95" fmla="*/ 1308537 h 6731875"/>
              <a:gd name="connsiteX96" fmla="*/ 6574220 w 7315200"/>
              <a:gd name="connsiteY96" fmla="*/ 1277006 h 6731875"/>
              <a:gd name="connsiteX97" fmla="*/ 6637282 w 7315200"/>
              <a:gd name="connsiteY97" fmla="*/ 1229710 h 6731875"/>
              <a:gd name="connsiteX98" fmla="*/ 6716110 w 7315200"/>
              <a:gd name="connsiteY98" fmla="*/ 1150882 h 6731875"/>
              <a:gd name="connsiteX99" fmla="*/ 6763407 w 7315200"/>
              <a:gd name="connsiteY99" fmla="*/ 1103586 h 6731875"/>
              <a:gd name="connsiteX100" fmla="*/ 6842234 w 7315200"/>
              <a:gd name="connsiteY100" fmla="*/ 993227 h 6731875"/>
              <a:gd name="connsiteX101" fmla="*/ 6952593 w 7315200"/>
              <a:gd name="connsiteY101" fmla="*/ 851337 h 6731875"/>
              <a:gd name="connsiteX102" fmla="*/ 6984124 w 7315200"/>
              <a:gd name="connsiteY102" fmla="*/ 804041 h 6731875"/>
              <a:gd name="connsiteX103" fmla="*/ 7062951 w 7315200"/>
              <a:gd name="connsiteY103" fmla="*/ 630620 h 6731875"/>
              <a:gd name="connsiteX104" fmla="*/ 7078717 w 7315200"/>
              <a:gd name="connsiteY104" fmla="*/ 583324 h 6731875"/>
              <a:gd name="connsiteX105" fmla="*/ 7110248 w 7315200"/>
              <a:gd name="connsiteY105" fmla="*/ 536027 h 6731875"/>
              <a:gd name="connsiteX106" fmla="*/ 7157545 w 7315200"/>
              <a:gd name="connsiteY106" fmla="*/ 441434 h 6731875"/>
              <a:gd name="connsiteX107" fmla="*/ 7204841 w 7315200"/>
              <a:gd name="connsiteY107" fmla="*/ 346841 h 6731875"/>
              <a:gd name="connsiteX108" fmla="*/ 7236372 w 7315200"/>
              <a:gd name="connsiteY108" fmla="*/ 252248 h 6731875"/>
              <a:gd name="connsiteX109" fmla="*/ 7252138 w 7315200"/>
              <a:gd name="connsiteY109" fmla="*/ 204951 h 6731875"/>
              <a:gd name="connsiteX110" fmla="*/ 7283669 w 7315200"/>
              <a:gd name="connsiteY110" fmla="*/ 78827 h 6731875"/>
              <a:gd name="connsiteX111" fmla="*/ 7315200 w 7315200"/>
              <a:gd name="connsiteY111" fmla="*/ 0 h 67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315200" h="6731875">
                <a:moveTo>
                  <a:pt x="0" y="6731875"/>
                </a:moveTo>
                <a:cubicBezTo>
                  <a:pt x="26276" y="6721365"/>
                  <a:pt x="55799" y="6716793"/>
                  <a:pt x="78827" y="6700344"/>
                </a:cubicBezTo>
                <a:cubicBezTo>
                  <a:pt x="94245" y="6689331"/>
                  <a:pt x="94290" y="6663090"/>
                  <a:pt x="110358" y="6653048"/>
                </a:cubicBezTo>
                <a:cubicBezTo>
                  <a:pt x="138543" y="6635433"/>
                  <a:pt x="204951" y="6621517"/>
                  <a:pt x="204951" y="6621517"/>
                </a:cubicBezTo>
                <a:cubicBezTo>
                  <a:pt x="236482" y="6600496"/>
                  <a:pt x="263594" y="6570439"/>
                  <a:pt x="299545" y="6558455"/>
                </a:cubicBezTo>
                <a:cubicBezTo>
                  <a:pt x="315310" y="6553200"/>
                  <a:pt x="331977" y="6550121"/>
                  <a:pt x="346841" y="6542689"/>
                </a:cubicBezTo>
                <a:cubicBezTo>
                  <a:pt x="405559" y="6513330"/>
                  <a:pt x="389130" y="6507448"/>
                  <a:pt x="441434" y="6463862"/>
                </a:cubicBezTo>
                <a:cubicBezTo>
                  <a:pt x="455990" y="6451732"/>
                  <a:pt x="473312" y="6443344"/>
                  <a:pt x="488731" y="6432331"/>
                </a:cubicBezTo>
                <a:cubicBezTo>
                  <a:pt x="510113" y="6417058"/>
                  <a:pt x="530772" y="6400800"/>
                  <a:pt x="551793" y="6385034"/>
                </a:cubicBezTo>
                <a:cubicBezTo>
                  <a:pt x="562179" y="6353876"/>
                  <a:pt x="571304" y="6312669"/>
                  <a:pt x="599089" y="6290441"/>
                </a:cubicBezTo>
                <a:cubicBezTo>
                  <a:pt x="612066" y="6280060"/>
                  <a:pt x="631522" y="6282107"/>
                  <a:pt x="646386" y="6274675"/>
                </a:cubicBezTo>
                <a:cubicBezTo>
                  <a:pt x="663333" y="6266201"/>
                  <a:pt x="675238" y="6247484"/>
                  <a:pt x="693682" y="6243144"/>
                </a:cubicBezTo>
                <a:cubicBezTo>
                  <a:pt x="766026" y="6226122"/>
                  <a:pt x="840827" y="6222123"/>
                  <a:pt x="914400" y="6211613"/>
                </a:cubicBezTo>
                <a:cubicBezTo>
                  <a:pt x="930165" y="6201103"/>
                  <a:pt x="944749" y="6188556"/>
                  <a:pt x="961696" y="6180082"/>
                </a:cubicBezTo>
                <a:cubicBezTo>
                  <a:pt x="976560" y="6172650"/>
                  <a:pt x="996016" y="6174698"/>
                  <a:pt x="1008993" y="6164317"/>
                </a:cubicBezTo>
                <a:cubicBezTo>
                  <a:pt x="1023789" y="6152480"/>
                  <a:pt x="1028394" y="6131576"/>
                  <a:pt x="1040524" y="6117020"/>
                </a:cubicBezTo>
                <a:cubicBezTo>
                  <a:pt x="1054797" y="6099892"/>
                  <a:pt x="1073547" y="6086852"/>
                  <a:pt x="1087820" y="6069724"/>
                </a:cubicBezTo>
                <a:cubicBezTo>
                  <a:pt x="1099950" y="6055168"/>
                  <a:pt x="1107221" y="6036983"/>
                  <a:pt x="1119351" y="6022427"/>
                </a:cubicBezTo>
                <a:cubicBezTo>
                  <a:pt x="1133624" y="6005299"/>
                  <a:pt x="1152960" y="5992730"/>
                  <a:pt x="1166648" y="5975131"/>
                </a:cubicBezTo>
                <a:cubicBezTo>
                  <a:pt x="1189914" y="5945218"/>
                  <a:pt x="1198179" y="5901558"/>
                  <a:pt x="1229710" y="5880537"/>
                </a:cubicBezTo>
                <a:cubicBezTo>
                  <a:pt x="1245476" y="5870027"/>
                  <a:pt x="1260059" y="5857480"/>
                  <a:pt x="1277007" y="5849006"/>
                </a:cubicBezTo>
                <a:cubicBezTo>
                  <a:pt x="1317914" y="5828553"/>
                  <a:pt x="1378534" y="5825547"/>
                  <a:pt x="1418896" y="5817475"/>
                </a:cubicBezTo>
                <a:cubicBezTo>
                  <a:pt x="1440143" y="5813226"/>
                  <a:pt x="1461124" y="5807663"/>
                  <a:pt x="1481958" y="5801710"/>
                </a:cubicBezTo>
                <a:cubicBezTo>
                  <a:pt x="1497937" y="5797145"/>
                  <a:pt x="1512699" y="5787384"/>
                  <a:pt x="1529255" y="5785944"/>
                </a:cubicBezTo>
                <a:cubicBezTo>
                  <a:pt x="1634094" y="5776828"/>
                  <a:pt x="1739462" y="5775434"/>
                  <a:pt x="1844565" y="5770179"/>
                </a:cubicBezTo>
                <a:cubicBezTo>
                  <a:pt x="1886606" y="5764924"/>
                  <a:pt x="1928408" y="5757141"/>
                  <a:pt x="1970689" y="5754413"/>
                </a:cubicBezTo>
                <a:cubicBezTo>
                  <a:pt x="2091421" y="5746624"/>
                  <a:pt x="2212955" y="5751097"/>
                  <a:pt x="2333296" y="5738648"/>
                </a:cubicBezTo>
                <a:cubicBezTo>
                  <a:pt x="2366356" y="5735228"/>
                  <a:pt x="2396358" y="5717627"/>
                  <a:pt x="2427889" y="5707117"/>
                </a:cubicBezTo>
                <a:lnTo>
                  <a:pt x="2475186" y="5691351"/>
                </a:lnTo>
                <a:cubicBezTo>
                  <a:pt x="2485696" y="5675586"/>
                  <a:pt x="2493319" y="5657453"/>
                  <a:pt x="2506717" y="5644055"/>
                </a:cubicBezTo>
                <a:cubicBezTo>
                  <a:pt x="2520115" y="5630657"/>
                  <a:pt x="2542177" y="5627320"/>
                  <a:pt x="2554014" y="5612524"/>
                </a:cubicBezTo>
                <a:cubicBezTo>
                  <a:pt x="2564395" y="5599547"/>
                  <a:pt x="2563233" y="5580502"/>
                  <a:pt x="2569779" y="5565227"/>
                </a:cubicBezTo>
                <a:cubicBezTo>
                  <a:pt x="2652679" y="5371790"/>
                  <a:pt x="2553690" y="5613169"/>
                  <a:pt x="2632841" y="5454868"/>
                </a:cubicBezTo>
                <a:cubicBezTo>
                  <a:pt x="2640273" y="5440004"/>
                  <a:pt x="2640362" y="5422001"/>
                  <a:pt x="2648607" y="5407572"/>
                </a:cubicBezTo>
                <a:cubicBezTo>
                  <a:pt x="2661643" y="5384758"/>
                  <a:pt x="2680631" y="5365892"/>
                  <a:pt x="2695903" y="5344510"/>
                </a:cubicBezTo>
                <a:cubicBezTo>
                  <a:pt x="2750776" y="5267687"/>
                  <a:pt x="2706178" y="5326528"/>
                  <a:pt x="2758965" y="5234151"/>
                </a:cubicBezTo>
                <a:cubicBezTo>
                  <a:pt x="2768366" y="5217700"/>
                  <a:pt x="2782022" y="5203802"/>
                  <a:pt x="2790496" y="5186855"/>
                </a:cubicBezTo>
                <a:cubicBezTo>
                  <a:pt x="2797928" y="5171991"/>
                  <a:pt x="2799716" y="5154833"/>
                  <a:pt x="2806262" y="5139558"/>
                </a:cubicBezTo>
                <a:cubicBezTo>
                  <a:pt x="2830265" y="5083550"/>
                  <a:pt x="2837657" y="5076700"/>
                  <a:pt x="2869324" y="5029200"/>
                </a:cubicBezTo>
                <a:lnTo>
                  <a:pt x="2932386" y="4840013"/>
                </a:lnTo>
                <a:cubicBezTo>
                  <a:pt x="2946157" y="4798701"/>
                  <a:pt x="2941894" y="4759885"/>
                  <a:pt x="2979682" y="4729655"/>
                </a:cubicBezTo>
                <a:cubicBezTo>
                  <a:pt x="2989964" y="4721429"/>
                  <a:pt x="3085918" y="4699155"/>
                  <a:pt x="3090041" y="4698124"/>
                </a:cubicBezTo>
                <a:cubicBezTo>
                  <a:pt x="3105807" y="4687614"/>
                  <a:pt x="3120391" y="4675067"/>
                  <a:pt x="3137338" y="4666593"/>
                </a:cubicBezTo>
                <a:cubicBezTo>
                  <a:pt x="3152202" y="4659161"/>
                  <a:pt x="3168512" y="4654858"/>
                  <a:pt x="3184634" y="4650827"/>
                </a:cubicBezTo>
                <a:cubicBezTo>
                  <a:pt x="3252653" y="4633822"/>
                  <a:pt x="3321269" y="4619296"/>
                  <a:pt x="3389586" y="4603531"/>
                </a:cubicBezTo>
                <a:cubicBezTo>
                  <a:pt x="3527753" y="4465361"/>
                  <a:pt x="3352491" y="4634443"/>
                  <a:pt x="3484179" y="4524703"/>
                </a:cubicBezTo>
                <a:cubicBezTo>
                  <a:pt x="3559545" y="4461898"/>
                  <a:pt x="3506640" y="4497750"/>
                  <a:pt x="3563007" y="4430110"/>
                </a:cubicBezTo>
                <a:cubicBezTo>
                  <a:pt x="3577280" y="4412982"/>
                  <a:pt x="3594538" y="4398579"/>
                  <a:pt x="3610303" y="4382813"/>
                </a:cubicBezTo>
                <a:cubicBezTo>
                  <a:pt x="3649933" y="4263927"/>
                  <a:pt x="3596473" y="4410475"/>
                  <a:pt x="3657600" y="4288220"/>
                </a:cubicBezTo>
                <a:cubicBezTo>
                  <a:pt x="3665032" y="4273356"/>
                  <a:pt x="3666819" y="4256198"/>
                  <a:pt x="3673365" y="4240924"/>
                </a:cubicBezTo>
                <a:cubicBezTo>
                  <a:pt x="3682623" y="4219322"/>
                  <a:pt x="3696644" y="4199867"/>
                  <a:pt x="3704896" y="4177862"/>
                </a:cubicBezTo>
                <a:cubicBezTo>
                  <a:pt x="3712504" y="4157574"/>
                  <a:pt x="3714709" y="4135634"/>
                  <a:pt x="3720662" y="4114800"/>
                </a:cubicBezTo>
                <a:cubicBezTo>
                  <a:pt x="3725227" y="4098821"/>
                  <a:pt x="3731862" y="4083482"/>
                  <a:pt x="3736427" y="4067503"/>
                </a:cubicBezTo>
                <a:cubicBezTo>
                  <a:pt x="3742380" y="4046669"/>
                  <a:pt x="3745967" y="4025195"/>
                  <a:pt x="3752193" y="4004441"/>
                </a:cubicBezTo>
                <a:cubicBezTo>
                  <a:pt x="3814941" y="3795284"/>
                  <a:pt x="3752042" y="4004819"/>
                  <a:pt x="3815255" y="3846786"/>
                </a:cubicBezTo>
                <a:cubicBezTo>
                  <a:pt x="3871540" y="3706075"/>
                  <a:pt x="3817654" y="3795892"/>
                  <a:pt x="3878317" y="3704896"/>
                </a:cubicBezTo>
                <a:lnTo>
                  <a:pt x="3909848" y="3610303"/>
                </a:lnTo>
                <a:cubicBezTo>
                  <a:pt x="3915103" y="3594537"/>
                  <a:pt x="3916396" y="3576833"/>
                  <a:pt x="3925614" y="3563006"/>
                </a:cubicBezTo>
                <a:lnTo>
                  <a:pt x="3957145" y="3515710"/>
                </a:lnTo>
                <a:cubicBezTo>
                  <a:pt x="3984893" y="3432462"/>
                  <a:pt x="3963692" y="3482240"/>
                  <a:pt x="4035972" y="3373820"/>
                </a:cubicBezTo>
                <a:cubicBezTo>
                  <a:pt x="4045190" y="3359993"/>
                  <a:pt x="4043667" y="3341051"/>
                  <a:pt x="4051738" y="3326524"/>
                </a:cubicBezTo>
                <a:cubicBezTo>
                  <a:pt x="4070142" y="3293397"/>
                  <a:pt x="4093779" y="3263462"/>
                  <a:pt x="4114800" y="3231931"/>
                </a:cubicBezTo>
                <a:cubicBezTo>
                  <a:pt x="4288066" y="2972032"/>
                  <a:pt x="4126664" y="3192438"/>
                  <a:pt x="4193627" y="3058510"/>
                </a:cubicBezTo>
                <a:cubicBezTo>
                  <a:pt x="4202101" y="3041562"/>
                  <a:pt x="4216684" y="3028161"/>
                  <a:pt x="4225158" y="3011213"/>
                </a:cubicBezTo>
                <a:cubicBezTo>
                  <a:pt x="4237814" y="2985901"/>
                  <a:pt x="4244033" y="2957698"/>
                  <a:pt x="4256689" y="2932386"/>
                </a:cubicBezTo>
                <a:cubicBezTo>
                  <a:pt x="4270393" y="2904978"/>
                  <a:pt x="4290282" y="2880966"/>
                  <a:pt x="4303986" y="2853558"/>
                </a:cubicBezTo>
                <a:cubicBezTo>
                  <a:pt x="4311418" y="2838694"/>
                  <a:pt x="4313916" y="2821822"/>
                  <a:pt x="4319751" y="2806262"/>
                </a:cubicBezTo>
                <a:cubicBezTo>
                  <a:pt x="4329688" y="2779764"/>
                  <a:pt x="4338626" y="2752746"/>
                  <a:pt x="4351282" y="2727434"/>
                </a:cubicBezTo>
                <a:cubicBezTo>
                  <a:pt x="4359756" y="2710486"/>
                  <a:pt x="4372303" y="2695903"/>
                  <a:pt x="4382814" y="2680137"/>
                </a:cubicBezTo>
                <a:cubicBezTo>
                  <a:pt x="4446530" y="2488990"/>
                  <a:pt x="4387649" y="2682025"/>
                  <a:pt x="4430110" y="2490951"/>
                </a:cubicBezTo>
                <a:cubicBezTo>
                  <a:pt x="4433715" y="2474729"/>
                  <a:pt x="4435495" y="2456632"/>
                  <a:pt x="4445876" y="2443655"/>
                </a:cubicBezTo>
                <a:cubicBezTo>
                  <a:pt x="4457713" y="2428859"/>
                  <a:pt x="4477407" y="2422634"/>
                  <a:pt x="4493172" y="2412124"/>
                </a:cubicBezTo>
                <a:cubicBezTo>
                  <a:pt x="4523865" y="2320047"/>
                  <a:pt x="4484923" y="2404607"/>
                  <a:pt x="4556234" y="2333296"/>
                </a:cubicBezTo>
                <a:cubicBezTo>
                  <a:pt x="4569632" y="2319898"/>
                  <a:pt x="4575929" y="2300796"/>
                  <a:pt x="4587765" y="2286000"/>
                </a:cubicBezTo>
                <a:cubicBezTo>
                  <a:pt x="4597050" y="2274393"/>
                  <a:pt x="4610011" y="2266075"/>
                  <a:pt x="4619296" y="2254468"/>
                </a:cubicBezTo>
                <a:cubicBezTo>
                  <a:pt x="4655102" y="2209710"/>
                  <a:pt x="4653743" y="2188491"/>
                  <a:pt x="4698124" y="2144110"/>
                </a:cubicBezTo>
                <a:cubicBezTo>
                  <a:pt x="4711522" y="2130712"/>
                  <a:pt x="4730002" y="2123592"/>
                  <a:pt x="4745420" y="2112579"/>
                </a:cubicBezTo>
                <a:cubicBezTo>
                  <a:pt x="4896139" y="2004921"/>
                  <a:pt x="4723393" y="2118409"/>
                  <a:pt x="4871545" y="2033751"/>
                </a:cubicBezTo>
                <a:cubicBezTo>
                  <a:pt x="4957119" y="1984852"/>
                  <a:pt x="4879421" y="2015360"/>
                  <a:pt x="4966138" y="1986455"/>
                </a:cubicBezTo>
                <a:cubicBezTo>
                  <a:pt x="5101680" y="1896093"/>
                  <a:pt x="4930188" y="2004430"/>
                  <a:pt x="5060731" y="1939158"/>
                </a:cubicBezTo>
                <a:cubicBezTo>
                  <a:pt x="5077678" y="1930684"/>
                  <a:pt x="5090712" y="1915322"/>
                  <a:pt x="5108027" y="1907627"/>
                </a:cubicBezTo>
                <a:cubicBezTo>
                  <a:pt x="5138399" y="1894128"/>
                  <a:pt x="5171089" y="1886606"/>
                  <a:pt x="5202620" y="1876096"/>
                </a:cubicBezTo>
                <a:cubicBezTo>
                  <a:pt x="5218386" y="1870841"/>
                  <a:pt x="5233466" y="1862681"/>
                  <a:pt x="5249917" y="1860331"/>
                </a:cubicBezTo>
                <a:lnTo>
                  <a:pt x="5360276" y="1844565"/>
                </a:lnTo>
                <a:cubicBezTo>
                  <a:pt x="5376041" y="1839310"/>
                  <a:pt x="5391593" y="1833365"/>
                  <a:pt x="5407572" y="1828800"/>
                </a:cubicBezTo>
                <a:cubicBezTo>
                  <a:pt x="5428406" y="1822847"/>
                  <a:pt x="5450718" y="1821569"/>
                  <a:pt x="5470634" y="1813034"/>
                </a:cubicBezTo>
                <a:cubicBezTo>
                  <a:pt x="5517097" y="1793121"/>
                  <a:pt x="5527343" y="1766678"/>
                  <a:pt x="5565227" y="1734206"/>
                </a:cubicBezTo>
                <a:cubicBezTo>
                  <a:pt x="5585177" y="1717106"/>
                  <a:pt x="5606763" y="1701978"/>
                  <a:pt x="5628289" y="1686910"/>
                </a:cubicBezTo>
                <a:cubicBezTo>
                  <a:pt x="5659334" y="1665178"/>
                  <a:pt x="5696085" y="1650644"/>
                  <a:pt x="5722882" y="1623848"/>
                </a:cubicBezTo>
                <a:lnTo>
                  <a:pt x="5754414" y="1592317"/>
                </a:lnTo>
                <a:cubicBezTo>
                  <a:pt x="5764924" y="1571296"/>
                  <a:pt x="5774285" y="1549660"/>
                  <a:pt x="5785945" y="1529255"/>
                </a:cubicBezTo>
                <a:cubicBezTo>
                  <a:pt x="5795346" y="1512804"/>
                  <a:pt x="5809002" y="1498906"/>
                  <a:pt x="5817476" y="1481958"/>
                </a:cubicBezTo>
                <a:cubicBezTo>
                  <a:pt x="5833214" y="1450481"/>
                  <a:pt x="5830885" y="1409956"/>
                  <a:pt x="5864772" y="1387365"/>
                </a:cubicBezTo>
                <a:cubicBezTo>
                  <a:pt x="5882801" y="1375346"/>
                  <a:pt x="5907080" y="1377826"/>
                  <a:pt x="5927834" y="1371600"/>
                </a:cubicBezTo>
                <a:cubicBezTo>
                  <a:pt x="5959669" y="1362049"/>
                  <a:pt x="5990896" y="1350578"/>
                  <a:pt x="6022427" y="1340068"/>
                </a:cubicBezTo>
                <a:cubicBezTo>
                  <a:pt x="6199433" y="1281066"/>
                  <a:pt x="6053199" y="1324939"/>
                  <a:pt x="6479627" y="1308537"/>
                </a:cubicBezTo>
                <a:cubicBezTo>
                  <a:pt x="6511158" y="1298027"/>
                  <a:pt x="6544492" y="1291870"/>
                  <a:pt x="6574220" y="1277006"/>
                </a:cubicBezTo>
                <a:cubicBezTo>
                  <a:pt x="6597722" y="1265255"/>
                  <a:pt x="6617643" y="1247167"/>
                  <a:pt x="6637282" y="1229710"/>
                </a:cubicBezTo>
                <a:cubicBezTo>
                  <a:pt x="6665056" y="1205022"/>
                  <a:pt x="6689834" y="1177158"/>
                  <a:pt x="6716110" y="1150882"/>
                </a:cubicBezTo>
                <a:cubicBezTo>
                  <a:pt x="6731876" y="1135117"/>
                  <a:pt x="6751040" y="1122137"/>
                  <a:pt x="6763407" y="1103586"/>
                </a:cubicBezTo>
                <a:cubicBezTo>
                  <a:pt x="6788360" y="1066156"/>
                  <a:pt x="6812903" y="1027446"/>
                  <a:pt x="6842234" y="993227"/>
                </a:cubicBezTo>
                <a:cubicBezTo>
                  <a:pt x="6953378" y="863559"/>
                  <a:pt x="6814189" y="1058943"/>
                  <a:pt x="6952593" y="851337"/>
                </a:cubicBezTo>
                <a:lnTo>
                  <a:pt x="6984124" y="804041"/>
                </a:lnTo>
                <a:cubicBezTo>
                  <a:pt x="7014752" y="712152"/>
                  <a:pt x="6992457" y="771608"/>
                  <a:pt x="7062951" y="630620"/>
                </a:cubicBezTo>
                <a:cubicBezTo>
                  <a:pt x="7070383" y="615756"/>
                  <a:pt x="7071285" y="598188"/>
                  <a:pt x="7078717" y="583324"/>
                </a:cubicBezTo>
                <a:cubicBezTo>
                  <a:pt x="7087191" y="566377"/>
                  <a:pt x="7101774" y="552974"/>
                  <a:pt x="7110248" y="536027"/>
                </a:cubicBezTo>
                <a:cubicBezTo>
                  <a:pt x="7175521" y="405483"/>
                  <a:pt x="7067181" y="576982"/>
                  <a:pt x="7157545" y="441434"/>
                </a:cubicBezTo>
                <a:cubicBezTo>
                  <a:pt x="7215035" y="268955"/>
                  <a:pt x="7123349" y="530197"/>
                  <a:pt x="7204841" y="346841"/>
                </a:cubicBezTo>
                <a:cubicBezTo>
                  <a:pt x="7218340" y="316469"/>
                  <a:pt x="7225862" y="283779"/>
                  <a:pt x="7236372" y="252248"/>
                </a:cubicBezTo>
                <a:lnTo>
                  <a:pt x="7252138" y="204951"/>
                </a:lnTo>
                <a:cubicBezTo>
                  <a:pt x="7288172" y="96848"/>
                  <a:pt x="7245624" y="231009"/>
                  <a:pt x="7283669" y="78827"/>
                </a:cubicBezTo>
                <a:cubicBezTo>
                  <a:pt x="7293410" y="39861"/>
                  <a:pt x="7298889" y="32621"/>
                  <a:pt x="7315200" y="0"/>
                </a:cubicBezTo>
              </a:path>
            </a:pathLst>
          </a:custGeom>
          <a:noFill/>
          <a:ln w="98425"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TextBox 11"/>
          <p:cNvSpPr txBox="1"/>
          <p:nvPr/>
        </p:nvSpPr>
        <p:spPr>
          <a:xfrm>
            <a:off x="8178799" y="304800"/>
            <a:ext cx="4826001" cy="4563298"/>
          </a:xfrm>
          <a:prstGeom prst="rect">
            <a:avLst/>
          </a:prstGeom>
          <a:noFill/>
        </p:spPr>
        <p:txBody>
          <a:bodyPr wrap="square" lIns="130046" tIns="65023" rIns="130046" bIns="65023" rtlCol="0">
            <a:spAutoFit/>
          </a:bodyPr>
          <a:lstStyle/>
          <a:p>
            <a:r>
              <a:rPr lang="en-US" sz="3200" b="1" dirty="0">
                <a:solidFill>
                  <a:srgbClr val="0080C0"/>
                </a:solidFill>
                <a:latin typeface="Calibri" pitchFamily="34" charset="0"/>
              </a:rPr>
              <a:t>Instructions:  </a:t>
            </a:r>
            <a:br>
              <a:rPr lang="en-US" sz="3200" b="1" dirty="0">
                <a:solidFill>
                  <a:schemeClr val="tx1"/>
                </a:solidFill>
                <a:latin typeface="Calibri" pitchFamily="34" charset="0"/>
              </a:rPr>
            </a:br>
            <a:r>
              <a:rPr lang="en-US" sz="3200" b="1" dirty="0">
                <a:solidFill>
                  <a:schemeClr val="tx1"/>
                </a:solidFill>
                <a:latin typeface="Calibri" pitchFamily="34" charset="0"/>
              </a:rPr>
              <a:t>Identify a time during your career where you experienced significant professional growth </a:t>
            </a:r>
            <a:endParaRPr lang="en-US" sz="3200" dirty="0">
              <a:solidFill>
                <a:srgbClr val="0080C0"/>
              </a:solidFill>
              <a:latin typeface="Calibri" pitchFamily="34" charset="0"/>
            </a:endParaRPr>
          </a:p>
          <a:p>
            <a:r>
              <a:rPr lang="en-US" sz="3200" dirty="0">
                <a:solidFill>
                  <a:srgbClr val="0080C0"/>
                </a:solidFill>
                <a:latin typeface="Calibri" pitchFamily="34" charset="0"/>
              </a:rPr>
              <a:t>write this on a sticky note:</a:t>
            </a:r>
          </a:p>
          <a:p>
            <a:endParaRPr lang="en-US" sz="3200" b="1" dirty="0">
              <a:solidFill>
                <a:schemeClr val="bg1"/>
              </a:solidFill>
              <a:latin typeface="Calibri" pitchFamily="34" charset="0"/>
            </a:endParaRPr>
          </a:p>
          <a:p>
            <a:endParaRPr lang="en-US" sz="3200" b="1" dirty="0">
              <a:solidFill>
                <a:schemeClr val="bg1"/>
              </a:solidFill>
              <a:latin typeface="Calibri" pitchFamily="34" charset="0"/>
            </a:endParaRPr>
          </a:p>
          <a:p>
            <a:r>
              <a:rPr lang="en-US" sz="3200" b="1" dirty="0">
                <a:solidFill>
                  <a:schemeClr val="bg1"/>
                </a:solidFill>
                <a:latin typeface="Calibri" pitchFamily="34" charset="0"/>
              </a:rPr>
              <a:t>  </a:t>
            </a:r>
            <a:endParaRPr lang="en-US" sz="3200" b="1" dirty="0">
              <a:solidFill>
                <a:srgbClr val="0070C0"/>
              </a:solidFill>
            </a:endParaRPr>
          </a:p>
        </p:txBody>
      </p:sp>
      <p:pic>
        <p:nvPicPr>
          <p:cNvPr id="724019" name="Picture 51"/>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rot="20201475">
            <a:off x="2836448" y="5437512"/>
            <a:ext cx="2347052" cy="1373187"/>
          </a:xfrm>
          <a:prstGeom prst="rect">
            <a:avLst/>
          </a:prstGeom>
          <a:noFill/>
          <a:ln w="9525" algn="in">
            <a:noFill/>
            <a:miter lim="800000"/>
            <a:headEnd/>
            <a:tailEnd/>
          </a:ln>
          <a:effectLst/>
        </p:spPr>
      </p:pic>
      <p:sp>
        <p:nvSpPr>
          <p:cNvPr id="18" name="Slide Number Placeholder 17"/>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9</a:t>
            </a:fld>
            <a:endParaRPr lang="en-US" dirty="0">
              <a:solidFill>
                <a:prstClr val="black"/>
              </a:solidFill>
            </a:endParaRPr>
          </a:p>
        </p:txBody>
      </p:sp>
      <mc:AlternateContent xmlns:mc="http://schemas.openxmlformats.org/markup-compatibility/2006" xmlns:p14="http://schemas.microsoft.com/office/powerpoint/2010/main">
        <mc:Choice Requires="p14">
          <p:contentPart p14:bwMode="auto" r:id="rId5">
            <p14:nvContentPartPr>
              <p14:cNvPr id="723974" name="Ink 6"/>
              <p14:cNvContentPartPr>
                <a14:cpLocks xmlns:a14="http://schemas.microsoft.com/office/drawing/2010/main" noRot="1" noChangeAspect="1" noEditPoints="1" noChangeArrowheads="1" noChangeShapeType="1"/>
              </p14:cNvContentPartPr>
              <p14:nvPr/>
            </p14:nvContentPartPr>
            <p14:xfrm>
              <a:off x="149053550" y="410502100"/>
              <a:ext cx="0" cy="0"/>
            </p14:xfrm>
          </p:contentPart>
        </mc:Choice>
        <mc:Fallback xmlns="">
          <p:pic>
            <p:nvPicPr>
              <p:cNvPr id="723974" name="Ink 6"/>
              <p:cNvPicPr>
                <a:picLocks noRot="1" noChangeAspect="1" noEditPoints="1" noChangeArrowheads="1" noChangeShapeType="1"/>
              </p:cNvPicPr>
              <p:nvPr/>
            </p:nvPicPr>
            <p:blipFill>
              <a:blip r:embed="rId6"/>
              <a:stretch>
                <a:fillRect/>
              </a:stretch>
            </p:blipFill>
            <p:spPr>
              <a:xfrm>
                <a:off x="149053550" y="410502100"/>
                <a:ext cx="0" cy="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23979" name="Ink 11"/>
              <p14:cNvContentPartPr>
                <a14:cpLocks xmlns:a14="http://schemas.microsoft.com/office/drawing/2010/main" noRot="1" noChangeAspect="1" noEditPoints="1" noChangeArrowheads="1" noChangeShapeType="1"/>
              </p14:cNvContentPartPr>
              <p14:nvPr/>
            </p14:nvContentPartPr>
            <p14:xfrm>
              <a:off x="3233738" y="6011863"/>
              <a:ext cx="3894137" cy="3175000"/>
            </p14:xfrm>
          </p:contentPart>
        </mc:Choice>
        <mc:Fallback xmlns="">
          <p:pic>
            <p:nvPicPr>
              <p:cNvPr id="723979" name="Ink 11"/>
              <p:cNvPicPr>
                <a:picLocks noRot="1" noChangeAspect="1" noEditPoints="1" noChangeArrowheads="1" noChangeShapeType="1"/>
              </p:cNvPicPr>
              <p:nvPr/>
            </p:nvPicPr>
            <p:blipFill>
              <a:blip r:embed="rId9"/>
              <a:stretch>
                <a:fillRect/>
              </a:stretch>
            </p:blipFill>
            <p:spPr>
              <a:xfrm>
                <a:off x="3224379" y="6002504"/>
                <a:ext cx="3912855" cy="3193719"/>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724018" name="Ink 50"/>
              <p14:cNvContentPartPr>
                <a14:cpLocks xmlns:a14="http://schemas.microsoft.com/office/drawing/2010/main" noRot="1" noChangeAspect="1" noEditPoints="1" noChangeArrowheads="1" noChangeShapeType="1"/>
              </p14:cNvContentPartPr>
              <p14:nvPr/>
            </p14:nvContentPartPr>
            <p14:xfrm>
              <a:off x="695258325" y="210821588"/>
              <a:ext cx="0" cy="0"/>
            </p14:xfrm>
          </p:contentPart>
        </mc:Choice>
        <mc:Fallback xmlns="">
          <p:pic>
            <p:nvPicPr>
              <p:cNvPr id="724018" name="Ink 50"/>
              <p:cNvPicPr>
                <a:picLocks noRot="1" noChangeAspect="1" noEditPoints="1" noChangeArrowheads="1" noChangeShapeType="1"/>
              </p:cNvPicPr>
              <p:nvPr/>
            </p:nvPicPr>
            <p:blipFill>
              <a:blip r:embed="rId11"/>
              <a:stretch>
                <a:fillRect/>
              </a:stretch>
            </p:blipFill>
            <p:spPr>
              <a:xfrm>
                <a:off x="695258325" y="210821588"/>
                <a:ext cx="0" cy="0"/>
              </a:xfrm>
              <a:prstGeom prst="rect">
                <a:avLst/>
              </a:prstGeom>
            </p:spPr>
          </p:pic>
        </mc:Fallback>
      </mc:AlternateContent>
      <p:sp>
        <p:nvSpPr>
          <p:cNvPr id="22" name="Footer Placeholder 4"/>
          <p:cNvSpPr>
            <a:spLocks noGrp="1"/>
          </p:cNvSpPr>
          <p:nvPr>
            <p:ph type="ftr" sz="quarter" idx="3"/>
          </p:nvPr>
        </p:nvSpPr>
        <p:spPr>
          <a:xfrm>
            <a:off x="-50800" y="9386888"/>
            <a:ext cx="8458199" cy="519112"/>
          </a:xfrm>
        </p:spPr>
        <p:txBody>
          <a:bodyPr/>
          <a:lstStyle/>
          <a:p>
            <a:r>
              <a:rPr lang="en-US" dirty="0"/>
              <a:t>©2017 copyright Employee Performance Solutions, LLC  All Rights Reserved | For Use Within Client Organization</a:t>
            </a:r>
          </a:p>
        </p:txBody>
      </p:sp>
      <p:grpSp>
        <p:nvGrpSpPr>
          <p:cNvPr id="23" name="Group 22"/>
          <p:cNvGrpSpPr/>
          <p:nvPr/>
        </p:nvGrpSpPr>
        <p:grpSpPr>
          <a:xfrm>
            <a:off x="9093200" y="7696200"/>
            <a:ext cx="2895600" cy="728870"/>
            <a:chOff x="10083800" y="8458200"/>
            <a:chExt cx="2895600" cy="728870"/>
          </a:xfrm>
        </p:grpSpPr>
        <p:sp>
          <p:nvSpPr>
            <p:cNvPr id="24" name="Text Box 4"/>
            <p:cNvSpPr txBox="1">
              <a:spLocks noChangeArrowheads="1"/>
            </p:cNvSpPr>
            <p:nvPr/>
          </p:nvSpPr>
          <p:spPr bwMode="auto">
            <a:xfrm>
              <a:off x="10315400" y="8544339"/>
              <a:ext cx="2664000" cy="447261"/>
            </a:xfrm>
            <a:prstGeom prst="rect">
              <a:avLst/>
            </a:prstGeom>
            <a:solidFill>
              <a:schemeClr val="bg1"/>
            </a:solid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dirty="0">
                  <a:solidFill>
                    <a:schemeClr val="tx1"/>
                  </a:solidFill>
                  <a:latin typeface="Calibri" pitchFamily="34" charset="0"/>
                  <a:cs typeface="Arial" pitchFamily="34" charset="0"/>
                </a:rPr>
                <a:t>2-Minutes</a:t>
              </a:r>
            </a:p>
            <a:p>
              <a:pPr marL="0" marR="0" lvl="0" indent="0" defTabSz="914400" rtl="0" eaLnBrk="1" fontAlgn="base" latinLnBrk="0" hangingPunct="1">
                <a:lnSpc>
                  <a:spcPct val="100000"/>
                </a:lnSpc>
                <a:spcBef>
                  <a:spcPct val="0"/>
                </a:spcBef>
                <a:spcAft>
                  <a:spcPct val="0"/>
                </a:spcAft>
                <a:buClrTx/>
                <a:buSzTx/>
                <a:buFontTx/>
                <a:buNone/>
                <a:tabLst/>
              </a:pP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26" name="Picture 3" descr="Image result for clock icon"/>
            <p:cNvPicPr>
              <a:picLocks noChangeAspect="1" noChangeArrowheads="1"/>
            </p:cNvPicPr>
            <p:nvPr/>
          </p:nvPicPr>
          <p:blipFill>
            <a:blip r:embed="rId12"/>
            <a:srcRect/>
            <a:stretch>
              <a:fillRect/>
            </a:stretch>
          </p:blipFill>
          <p:spPr bwMode="auto">
            <a:xfrm>
              <a:off x="10083800" y="8458200"/>
              <a:ext cx="732600" cy="728870"/>
            </a:xfrm>
            <a:prstGeom prst="rect">
              <a:avLst/>
            </a:prstGeom>
            <a:solidFill>
              <a:srgbClr val="74B230"/>
            </a:solidFill>
            <a:ln w="9525" algn="in">
              <a:noFill/>
              <a:miter lim="800000"/>
              <a:headEnd/>
              <a:tailEnd/>
            </a:ln>
          </p:spPr>
        </p:pic>
      </p:grpSp>
      <p:sp>
        <p:nvSpPr>
          <p:cNvPr id="14" name="Right Arrow 13"/>
          <p:cNvSpPr/>
          <p:nvPr/>
        </p:nvSpPr>
        <p:spPr bwMode="auto">
          <a:xfrm>
            <a:off x="406400" y="8534400"/>
            <a:ext cx="11277600" cy="1219200"/>
          </a:xfrm>
          <a:prstGeom prst="rightArrow">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3600" b="1" dirty="0">
                <a:solidFill>
                  <a:schemeClr val="bg1"/>
                </a:solidFill>
                <a:latin typeface="Calibri" pitchFamily="34" charset="0"/>
              </a:rPr>
              <a:t>Over Time</a:t>
            </a:r>
            <a:endParaRPr kumimoji="0" lang="en-US" sz="3600" b="1" i="0" u="none" strike="noStrike" cap="none" normalizeH="0" baseline="0" dirty="0">
              <a:ln>
                <a:noFill/>
              </a:ln>
              <a:solidFill>
                <a:schemeClr val="bg1"/>
              </a:solidFill>
              <a:effectLst/>
              <a:latin typeface="Calibri" pitchFamily="34" charset="0"/>
              <a:sym typeface="Gill Sans" charset="0"/>
            </a:endParaRPr>
          </a:p>
        </p:txBody>
      </p:sp>
      <p:grpSp>
        <p:nvGrpSpPr>
          <p:cNvPr id="27" name="Group 26">
            <a:extLst>
              <a:ext uri="{FF2B5EF4-FFF2-40B4-BE49-F238E27FC236}">
                <a16:creationId xmlns:a16="http://schemas.microsoft.com/office/drawing/2014/main" id="{AA8B0F8F-A20A-42F4-A411-0186AA922E49}"/>
              </a:ext>
            </a:extLst>
          </p:cNvPr>
          <p:cNvGrpSpPr/>
          <p:nvPr/>
        </p:nvGrpSpPr>
        <p:grpSpPr>
          <a:xfrm>
            <a:off x="9855200" y="9001780"/>
            <a:ext cx="2717800" cy="675620"/>
            <a:chOff x="11150600" y="7086600"/>
            <a:chExt cx="1270000" cy="675620"/>
          </a:xfrm>
        </p:grpSpPr>
        <p:pic>
          <p:nvPicPr>
            <p:cNvPr id="28" name="Picture 2">
              <a:extLst>
                <a:ext uri="{FF2B5EF4-FFF2-40B4-BE49-F238E27FC236}">
                  <a16:creationId xmlns:a16="http://schemas.microsoft.com/office/drawing/2014/main" id="{FAE257CF-939A-455C-98E5-9CEA0DB3AF8D}"/>
                </a:ext>
              </a:extLst>
            </p:cNvPr>
            <p:cNvPicPr>
              <a:picLocks noChangeAspect="1" noChangeArrowheads="1"/>
            </p:cNvPicPr>
            <p:nvPr/>
          </p:nvPicPr>
          <p:blipFill>
            <a:blip r:embed="rId13"/>
            <a:srcRect/>
            <a:stretch>
              <a:fillRect/>
            </a:stretch>
          </p:blipFill>
          <p:spPr bwMode="auto">
            <a:xfrm>
              <a:off x="11150600" y="7086600"/>
              <a:ext cx="1270000" cy="6096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29" name="TextBox 28">
              <a:extLst>
                <a:ext uri="{FF2B5EF4-FFF2-40B4-BE49-F238E27FC236}">
                  <a16:creationId xmlns:a16="http://schemas.microsoft.com/office/drawing/2014/main" id="{1DF3D7A1-301D-4808-9D90-D161C6EFCD7F}"/>
                </a:ext>
              </a:extLst>
            </p:cNvPr>
            <p:cNvSpPr txBox="1"/>
            <p:nvPr/>
          </p:nvSpPr>
          <p:spPr>
            <a:xfrm>
              <a:off x="11303000" y="7239000"/>
              <a:ext cx="990600" cy="523220"/>
            </a:xfrm>
            <a:prstGeom prst="rect">
              <a:avLst/>
            </a:prstGeom>
            <a:noFill/>
          </p:spPr>
          <p:txBody>
            <a:bodyPr wrap="square" rtlCol="0">
              <a:spAutoFit/>
            </a:bodyPr>
            <a:lstStyle/>
            <a:p>
              <a:r>
                <a:rPr lang="en-US" sz="2800" b="1" dirty="0" err="1">
                  <a:solidFill>
                    <a:schemeClr val="bg1"/>
                  </a:solidFill>
                  <a:latin typeface="Calibri" pitchFamily="34" charset="0"/>
                </a:rPr>
                <a:t>Pg</a:t>
              </a:r>
              <a:r>
                <a:rPr lang="en-US" sz="2800" b="1" dirty="0">
                  <a:solidFill>
                    <a:schemeClr val="bg1"/>
                  </a:solidFill>
                  <a:latin typeface="Calibri" pitchFamily="34" charset="0"/>
                </a:rPr>
                <a:t> 7</a:t>
              </a:r>
            </a:p>
          </p:txBody>
        </p:sp>
      </p:grpSp>
      <p:grpSp>
        <p:nvGrpSpPr>
          <p:cNvPr id="31" name="Group 30"/>
          <p:cNvGrpSpPr/>
          <p:nvPr/>
        </p:nvGrpSpPr>
        <p:grpSpPr>
          <a:xfrm>
            <a:off x="8407400" y="3505200"/>
            <a:ext cx="3841717" cy="3962400"/>
            <a:chOff x="8407400" y="3505200"/>
            <a:chExt cx="3841717" cy="3962400"/>
          </a:xfrm>
        </p:grpSpPr>
        <p:pic>
          <p:nvPicPr>
            <p:cNvPr id="30" name="Picture 2"/>
            <p:cNvPicPr>
              <a:picLocks noChangeAspect="1" noChangeArrowheads="1"/>
            </p:cNvPicPr>
            <p:nvPr/>
          </p:nvPicPr>
          <p:blipFill>
            <a:blip r:embed="rId14"/>
            <a:srcRect/>
            <a:stretch>
              <a:fillRect/>
            </a:stretch>
          </p:blipFill>
          <p:spPr bwMode="auto">
            <a:xfrm>
              <a:off x="8407400" y="3505200"/>
              <a:ext cx="3841717" cy="3962400"/>
            </a:xfrm>
            <a:prstGeom prst="rect">
              <a:avLst/>
            </a:prstGeom>
            <a:noFill/>
            <a:ln w="9525">
              <a:noFill/>
              <a:miter lim="800000"/>
              <a:headEnd/>
              <a:tailEnd/>
            </a:ln>
          </p:spPr>
        </p:pic>
        <p:sp>
          <p:nvSpPr>
            <p:cNvPr id="21" name="TextBox 20"/>
            <p:cNvSpPr txBox="1"/>
            <p:nvPr/>
          </p:nvSpPr>
          <p:spPr>
            <a:xfrm rot="21124563">
              <a:off x="8528936" y="3805275"/>
              <a:ext cx="3463197" cy="3108543"/>
            </a:xfrm>
            <a:prstGeom prst="rect">
              <a:avLst/>
            </a:prstGeom>
            <a:noFill/>
          </p:spPr>
          <p:txBody>
            <a:bodyPr wrap="square" rtlCol="0">
              <a:spAutoFit/>
            </a:bodyPr>
            <a:lstStyle/>
            <a:p>
              <a:r>
                <a:rPr lang="en-US" sz="2800" dirty="0">
                  <a:latin typeface="Heather BTN" pitchFamily="66" charset="0"/>
                </a:rPr>
                <a:t>When I worked on the Sales Training Framework with the Sales team and was then able to create a curriculum that helped increase sales.</a:t>
              </a:r>
            </a:p>
          </p:txBody>
        </p:sp>
      </p:grpSp>
    </p:spTree>
    <p:custDataLst>
      <p:tags r:id="rId1"/>
    </p:custDataLst>
    <p:extLst>
      <p:ext uri="{BB962C8B-B14F-4D97-AF65-F5344CB8AC3E}">
        <p14:creationId xmlns:p14="http://schemas.microsoft.com/office/powerpoint/2010/main" val="3307213686"/>
      </p:ext>
    </p:extLst>
  </p:cSld>
  <p:clrMapOvr>
    <a:masterClrMapping/>
  </p:clrMapOvr>
  <p:transition spd="slow">
    <p:random/>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12efc36ec5576d6dff2d5e9e8762beb087f3c285"/>
  <p:tag name="ISPRING_RESOURCE_PATHS_HASH_2" val="12efc36ec5576d6dff2d5e9e8762beb087f3c285"/>
  <p:tag name="ARTICULATE_SLIDE_THUMBNAIL_REFRESH" val="1"/>
  <p:tag name="ARTICULATE_PROJECT_OPEN" val="0"/>
  <p:tag name="ARTICULATE_SLIDE_COUNT" val="88"/>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UDIO_ID" val="350"/>
  <p:tag name="ARTICULATE_USED_LAYOUT" val="17"/>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UDIO_ID" val="499"/>
  <p:tag name="ARTICULATE_USED_LAYOUT" val="7"/>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UDIO_ID" val="350"/>
  <p:tag name="ARTICULATE_USED_LAYOUT" val="17"/>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UDIO_ID" val="350"/>
  <p:tag name="ARTICULATE_USED_LAYOUT" val="17"/>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aders">
  <a:themeElements>
    <a:clrScheme name="Custom 6">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FFFFFF"/>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ranslate Bio3">
      <a:dk1>
        <a:srgbClr val="147BD1"/>
      </a:dk1>
      <a:lt1>
        <a:srgbClr val="FFFFFF"/>
      </a:lt1>
      <a:dk2>
        <a:srgbClr val="3B4559"/>
      </a:dk2>
      <a:lt2>
        <a:srgbClr val="E7E6E6"/>
      </a:lt2>
      <a:accent1>
        <a:srgbClr val="00C389"/>
      </a:accent1>
      <a:accent2>
        <a:srgbClr val="147BD1"/>
      </a:accent2>
      <a:accent3>
        <a:srgbClr val="7319B8"/>
      </a:accent3>
      <a:accent4>
        <a:srgbClr val="C1118B"/>
      </a:accent4>
      <a:accent5>
        <a:srgbClr val="F3A746"/>
      </a:accent5>
      <a:accent6>
        <a:srgbClr val="A5A5A5"/>
      </a:accent6>
      <a:hlink>
        <a:srgbClr val="43DFA3"/>
      </a:hlink>
      <a:folHlink>
        <a:srgbClr val="147BD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NA7001-TranslateBio-PPT-R1_v5" id="{09F710D2-1F55-3444-B9D9-2BD2F0D30B8B}" vid="{C309710D-6259-B943-BA9B-BB44AEEEDB8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8767</TotalTime>
  <Pages>0</Pages>
  <Words>3734</Words>
  <Characters>0</Characters>
  <Application>Microsoft Office PowerPoint</Application>
  <PresentationFormat>Custom</PresentationFormat>
  <Lines>0</Lines>
  <Paragraphs>868</Paragraphs>
  <Slides>86</Slides>
  <Notes>31</Notes>
  <HiddenSlides>0</HiddenSlides>
  <MMClips>0</MMClips>
  <ScaleCrop>false</ScaleCrop>
  <HeadingPairs>
    <vt:vector size="6" baseType="variant">
      <vt:variant>
        <vt:lpstr>Fonts Used</vt:lpstr>
      </vt:variant>
      <vt:variant>
        <vt:i4>17</vt:i4>
      </vt:variant>
      <vt:variant>
        <vt:lpstr>Theme</vt:lpstr>
      </vt:variant>
      <vt:variant>
        <vt:i4>3</vt:i4>
      </vt:variant>
      <vt:variant>
        <vt:lpstr>Slide Titles</vt:lpstr>
      </vt:variant>
      <vt:variant>
        <vt:i4>86</vt:i4>
      </vt:variant>
    </vt:vector>
  </HeadingPairs>
  <TitlesOfParts>
    <vt:vector size="106" baseType="lpstr">
      <vt:lpstr>.AppleSystemUIFont</vt:lpstr>
      <vt:lpstr>Adobe Fan Heiti Std B</vt:lpstr>
      <vt:lpstr>Arial</vt:lpstr>
      <vt:lpstr>Arial Narrow</vt:lpstr>
      <vt:lpstr>Articulate</vt:lpstr>
      <vt:lpstr>Bebas Neue</vt:lpstr>
      <vt:lpstr>Bitter Regular</vt:lpstr>
      <vt:lpstr>Calibri</vt:lpstr>
      <vt:lpstr>Gill Sans</vt:lpstr>
      <vt:lpstr>Heather BTN</vt:lpstr>
      <vt:lpstr>Helvetica 65 Medium</vt:lpstr>
      <vt:lpstr>Kuhltom</vt:lpstr>
      <vt:lpstr>Leelawadee</vt:lpstr>
      <vt:lpstr>Roboto Medium</vt:lpstr>
      <vt:lpstr>Tahoma</vt:lpstr>
      <vt:lpstr>Times New Roman</vt:lpstr>
      <vt:lpstr>Wingdings</vt:lpstr>
      <vt:lpstr>leaders</vt:lpstr>
      <vt:lpstr>Custom Design</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t is possible for growth in experience to originate from multiple learning sources, in which case your sticky note can be torn in half or even thirds and placed under numerous learning categories.</vt:lpstr>
      <vt:lpstr>PowerPoint Presentation</vt:lpstr>
      <vt:lpstr>PowerPoint Presentation</vt:lpstr>
      <vt:lpstr>PowerPoint Presentation</vt:lpstr>
      <vt:lpstr>Employee Performance Continuum</vt:lpstr>
      <vt:lpstr>PowerPoint Presentation</vt:lpstr>
      <vt:lpstr>PowerPoint Presentation</vt:lpstr>
      <vt:lpstr>Employee Performance Continuum</vt:lpstr>
      <vt:lpstr>PowerPoint Presentation</vt:lpstr>
      <vt:lpstr>Where I see others:   Applying your experience to the Continuum</vt:lpstr>
      <vt:lpstr>Connect with another workshop participant and explain your thinking…</vt:lpstr>
      <vt:lpstr>#1 Use for the Model is to:</vt:lpstr>
      <vt:lpstr>PowerPoint Presentation</vt:lpstr>
      <vt:lpstr>Questions to Reflect On Your Past,  Present, and Future Performance </vt:lpstr>
      <vt:lpstr>PowerPoint Presentation</vt:lpstr>
      <vt:lpstr>PowerPoint Presentation</vt:lpstr>
      <vt:lpstr>PowerPoint Presentation</vt:lpstr>
      <vt:lpstr>PowerPoint Presentation</vt:lpstr>
      <vt:lpstr>PowerPoint Presentation</vt:lpstr>
      <vt:lpstr>Self-Driven Insight:  Your Net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king better questions leads to  receiving better information (insight)</vt:lpstr>
      <vt:lpstr>PowerPoint Presentation</vt:lpstr>
      <vt:lpstr>PowerPoint Presentation</vt:lpstr>
      <vt:lpstr> Positive Feedback Should Include:</vt:lpstr>
      <vt:lpstr> Positive Feedback Example</vt:lpstr>
      <vt:lpstr>Steps 1.  Think of someone that you work with who you have positive feedback for (peer, direct report, internal customer, your manager, etc.)   2. Follow the steps in the workbook </vt:lpstr>
      <vt:lpstr>PowerPoint Presentation</vt:lpstr>
      <vt:lpstr>PowerPoint Presentation</vt:lpstr>
      <vt:lpstr>Peer Conversations:  Your Network</vt:lpstr>
      <vt:lpstr>PowerPoint Presentation</vt:lpstr>
      <vt:lpstr>Workplace Conversations</vt:lpstr>
      <vt:lpstr>PowerPoint Presentation</vt:lpstr>
      <vt:lpstr>PowerPoint Presentation</vt:lpstr>
      <vt:lpstr>PowerPoint Presentation</vt:lpstr>
      <vt:lpstr>PowerPoint Presentation</vt:lpstr>
      <vt:lpstr>Click to edit Master title style</vt:lpstr>
      <vt:lpstr>Click to edit Master title sty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Generating dialogue:  5-MinuteConversation</vt:lpstr>
      <vt:lpstr>How does it work?</vt:lpstr>
      <vt:lpstr>PowerPoint Presentation</vt:lpstr>
      <vt:lpstr>PowerPoint Presentation</vt:lpstr>
      <vt:lpstr>PowerPoint Presentation</vt:lpstr>
      <vt:lpstr>PowerPoint Presentation</vt:lpstr>
      <vt:lpstr>PowerPoint Presentation</vt:lpstr>
      <vt:lpstr>PowerPoint Presentation</vt:lpstr>
      <vt:lpstr>  Process and Timeline</vt:lpstr>
      <vt:lpstr>PowerPoint Presentation</vt:lpstr>
      <vt:lpstr>Please Thoughts About the Program </vt:lpstr>
    </vt:vector>
  </TitlesOfParts>
  <Company>Employee Performance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 3 Colleagues</dc:title>
  <dc:creator>Jamie Resker</dc:creator>
  <cp:lastModifiedBy>george resker</cp:lastModifiedBy>
  <cp:revision>1337</cp:revision>
  <cp:lastPrinted>2014-02-25T04:31:51Z</cp:lastPrinted>
  <dcterms:created xsi:type="dcterms:W3CDTF">2014-01-17T02:44:56Z</dcterms:created>
  <dcterms:modified xsi:type="dcterms:W3CDTF">2019-06-20T17:0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9EC599E-F21D-42F4-AB21-62EB2F569F3B</vt:lpwstr>
  </property>
  <property fmtid="{D5CDD505-2E9C-101B-9397-08002B2CF9AE}" pid="3" name="ArticulatePath">
    <vt:lpwstr>halogen eps Sept Webinar</vt:lpwstr>
  </property>
</Properties>
</file>